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7" r:id="rId3"/>
  </p:sldMasterIdLst>
  <p:notesMasterIdLst>
    <p:notesMasterId r:id="rId11"/>
  </p:notesMasterIdLst>
  <p:sldIdLst>
    <p:sldId id="11854" r:id="rId4"/>
    <p:sldId id="28435" r:id="rId5"/>
    <p:sldId id="28447" r:id="rId6"/>
    <p:sldId id="28453" r:id="rId7"/>
    <p:sldId id="28341" r:id="rId8"/>
    <p:sldId id="257" r:id="rId9"/>
    <p:sldId id="28455" r:id="rId10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88" autoAdjust="0"/>
    <p:restoredTop sz="94660"/>
  </p:normalViewPr>
  <p:slideViewPr>
    <p:cSldViewPr snapToGrid="0">
      <p:cViewPr varScale="1">
        <p:scale>
          <a:sx n="72" d="100"/>
          <a:sy n="72" d="100"/>
        </p:scale>
        <p:origin x="63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68242F-7791-44A3-83D6-55B6A0BBE08E}" type="datetimeFigureOut">
              <a:rPr lang="pt-BR" smtClean="0"/>
              <a:t>03/03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853688-0EE1-45AC-B2BC-8F9B8A6AC4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7431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1233488"/>
            <a:ext cx="5919787" cy="3330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485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fld id="{7324DA73-AE27-4433-BD53-3E1DB61918F0}" type="slidenum">
              <a:rPr kumimoji="0" lang="pt-BR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l" defTabSz="9485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pt-BR" sz="1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4623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4B728D-3BF3-4DDD-8AEA-C23A6AB88D4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865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3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" name="Google Shape;32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84629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dark room&#10;&#10;Description automatically generated">
            <a:extLst>
              <a:ext uri="{FF2B5EF4-FFF2-40B4-BE49-F238E27FC236}">
                <a16:creationId xmlns:a16="http://schemas.microsoft.com/office/drawing/2014/main" id="{60EB0BE3-C1B1-1F45-A19C-A7C0A21D32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C36A28-FE0C-6E4B-B417-E153A0CBC9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661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8F28D76-2AC4-B74D-BD5B-6B946BDEA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61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3F655F-32E8-CB4D-90F5-EDBE2E74BB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2661600" y="4081345"/>
            <a:ext cx="6868800" cy="94331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lnSpc>
                <a:spcPct val="93000"/>
              </a:lnSpc>
              <a:defRPr sz="48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47C6DE-AA04-9448-B5B3-A51842C44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4000" y="522257"/>
            <a:ext cx="6604000" cy="245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94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446F48-88BD-4685-87C2-6577F0B93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446F48-88BD-4685-87C2-6577F0B93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76C8A-D959-4F73-9BE9-5747AF695D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kern="0" baseline="0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69111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dark room&#10;&#10;Description automatically generated">
            <a:extLst>
              <a:ext uri="{FF2B5EF4-FFF2-40B4-BE49-F238E27FC236}">
                <a16:creationId xmlns:a16="http://schemas.microsoft.com/office/drawing/2014/main" id="{60EB0BE3-C1B1-1F45-A19C-A7C0A21D32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8C36A28-FE0C-6E4B-B417-E153A0CBC9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2661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ctr">
              <a:lnSpc>
                <a:spcPct val="110000"/>
              </a:lnSpc>
              <a:buNone/>
              <a:defRPr sz="1200" b="1" cap="all" baseline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8F28D76-2AC4-B74D-BD5B-6B946BDEAD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661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3F655F-32E8-CB4D-90F5-EDBE2E74BB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2661600" y="4081345"/>
            <a:ext cx="6868800" cy="943319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lnSpc>
                <a:spcPct val="93000"/>
              </a:lnSpc>
              <a:defRPr sz="48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47C6DE-AA04-9448-B5B3-A51842C44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94000" y="522257"/>
            <a:ext cx="6604000" cy="245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468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446F48-88BD-4685-87C2-6577F0B93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285410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446F48-88BD-4685-87C2-6577F0B93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76C8A-D959-4F73-9BE9-5747AF695D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kern="0" baseline="0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12116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446F48-88BD-4685-87C2-6577F0B93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995184"/>
              </p:ext>
            </p:ext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446F48-88BD-4685-87C2-6577F0B93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9E76C8A-D959-4F73-9BE9-5747AF695D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kern="0" baseline="0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36540" y="242903"/>
            <a:ext cx="8673448" cy="5110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311F514-BE6C-424D-AECF-107C17016F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6540" y="1451040"/>
            <a:ext cx="5759877" cy="1484509"/>
          </a:xfrm>
          <a:prstGeom prst="rect">
            <a:avLst/>
          </a:prstGeom>
        </p:spPr>
        <p:txBody>
          <a:bodyPr>
            <a:spAutoFit/>
          </a:bodyPr>
          <a:lstStyle>
            <a:lvl1pP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</a:defRPr>
            </a:lvl1pPr>
            <a:lvl2pPr marL="685800" indent="-228600">
              <a:buFontTx/>
              <a:buChar char="-"/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27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4"/>
          <p:cNvSpPr txBox="1">
            <a:spLocks noGrp="1"/>
          </p:cNvSpPr>
          <p:nvPr>
            <p:ph type="title"/>
          </p:nvPr>
        </p:nvSpPr>
        <p:spPr>
          <a:xfrm>
            <a:off x="536540" y="242903"/>
            <a:ext cx="8673448" cy="511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p4"/>
          <p:cNvSpPr txBox="1">
            <a:spLocks noGrp="1"/>
          </p:cNvSpPr>
          <p:nvPr>
            <p:ph type="body" idx="1"/>
          </p:nvPr>
        </p:nvSpPr>
        <p:spPr>
          <a:xfrm>
            <a:off x="536540" y="1451040"/>
            <a:ext cx="5759877" cy="14845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Noto Sans Symbols"/>
              <a:buChar char="▪"/>
              <a:defRPr sz="2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-"/>
              <a:def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5858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5" descr="A dark room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5"/>
          <p:cNvSpPr txBox="1">
            <a:spLocks noGrp="1"/>
          </p:cNvSpPr>
          <p:nvPr>
            <p:ph type="body" idx="1"/>
          </p:nvPr>
        </p:nvSpPr>
        <p:spPr>
          <a:xfrm>
            <a:off x="2661600" y="6207842"/>
            <a:ext cx="6868800" cy="327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Arial"/>
              <a:buNone/>
              <a:defRPr sz="1200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5"/>
          <p:cNvSpPr txBox="1">
            <a:spLocks noGrp="1"/>
          </p:cNvSpPr>
          <p:nvPr>
            <p:ph type="subTitle" idx="2"/>
          </p:nvPr>
        </p:nvSpPr>
        <p:spPr>
          <a:xfrm>
            <a:off x="2661600" y="5495706"/>
            <a:ext cx="6868800" cy="4361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Google Shape;19;p5"/>
          <p:cNvSpPr txBox="1">
            <a:spLocks noGrp="1"/>
          </p:cNvSpPr>
          <p:nvPr>
            <p:ph type="ctrTitle"/>
          </p:nvPr>
        </p:nvSpPr>
        <p:spPr>
          <a:xfrm>
            <a:off x="2661600" y="4081345"/>
            <a:ext cx="6868800" cy="943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Calibri"/>
              <a:buNone/>
              <a:defRPr sz="4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" name="Google Shape;20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794000" y="522257"/>
            <a:ext cx="6604000" cy="24520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5501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6"/>
          <p:cNvSpPr txBox="1">
            <a:spLocks noGrp="1"/>
          </p:cNvSpPr>
          <p:nvPr>
            <p:ph type="title"/>
          </p:nvPr>
        </p:nvSpPr>
        <p:spPr>
          <a:xfrm>
            <a:off x="536540" y="242903"/>
            <a:ext cx="9078800" cy="511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84846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10" Type="http://schemas.openxmlformats.org/officeDocument/2006/relationships/image" Target="../media/image4.png"/><Relationship Id="rId4" Type="http://schemas.openxmlformats.org/officeDocument/2006/relationships/tags" Target="../tags/tag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oleObject" Target="../embeddings/oleObject6.bin"/><Relationship Id="rId5" Type="http://schemas.openxmlformats.org/officeDocument/2006/relationships/tags" Target="../tags/tag11.xml"/><Relationship Id="rId4" Type="http://schemas.openxmlformats.org/officeDocument/2006/relationships/theme" Target="../theme/theme3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1FD634-FC75-452F-AB48-07A8E28141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395" imgH="396" progId="TCLayout.ActiveDocument.1">
                  <p:embed/>
                </p:oleObj>
              </mc:Choice>
              <mc:Fallback>
                <p:oleObj name="Slide do think-cell" r:id="rId6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1FD634-FC75-452F-AB48-07A8E2814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FF1CAE5-20F0-46F4-9E12-D58C49A91E2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 descr="A dark room&#10;&#10;Description automatically generated">
            <a:extLst>
              <a:ext uri="{FF2B5EF4-FFF2-40B4-BE49-F238E27FC236}">
                <a16:creationId xmlns:a16="http://schemas.microsoft.com/office/drawing/2014/main" id="{7D5D1E76-02A9-8244-990D-5B4679B2409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8" name="Retângulo 4">
            <a:extLst>
              <a:ext uri="{FF2B5EF4-FFF2-40B4-BE49-F238E27FC236}">
                <a16:creationId xmlns:a16="http://schemas.microsoft.com/office/drawing/2014/main" id="{63130AF4-67BE-414D-9677-DA3673564638}"/>
              </a:ext>
            </a:extLst>
          </p:cNvPr>
          <p:cNvSpPr/>
          <p:nvPr userDrawn="1"/>
        </p:nvSpPr>
        <p:spPr>
          <a:xfrm>
            <a:off x="0" y="6426200"/>
            <a:ext cx="12192000" cy="4318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srgbClr val="2857A5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6">
            <a:extLst>
              <a:ext uri="{FF2B5EF4-FFF2-40B4-BE49-F238E27FC236}">
                <a16:creationId xmlns:a16="http://schemas.microsoft.com/office/drawing/2014/main" id="{60D2F1F6-D85F-9848-8FB5-A72A2B0DCC95}"/>
              </a:ext>
            </a:extLst>
          </p:cNvPr>
          <p:cNvSpPr txBox="1"/>
          <p:nvPr userDrawn="1"/>
        </p:nvSpPr>
        <p:spPr>
          <a:xfrm>
            <a:off x="11440344" y="6574628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pt-BR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pt-BR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1" name="Conector reto 8">
            <a:extLst>
              <a:ext uri="{FF2B5EF4-FFF2-40B4-BE49-F238E27FC236}">
                <a16:creationId xmlns:a16="http://schemas.microsoft.com/office/drawing/2014/main" id="{B33590F3-3C0C-9B42-A213-2A202C950DB2}"/>
              </a:ext>
            </a:extLst>
          </p:cNvPr>
          <p:cNvCxnSpPr>
            <a:cxnSpLocks/>
          </p:cNvCxnSpPr>
          <p:nvPr userDrawn="1"/>
        </p:nvCxnSpPr>
        <p:spPr>
          <a:xfrm>
            <a:off x="467544" y="817119"/>
            <a:ext cx="1131596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DEEFA4F-850A-CD45-87D3-245945C9776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649" y="94651"/>
            <a:ext cx="1553426" cy="576779"/>
          </a:xfrm>
          <a:prstGeom prst="rect">
            <a:avLst/>
          </a:prstGeom>
        </p:spPr>
      </p:pic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F3AC433E-A766-4B2B-961B-A3BEBFE5BD3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2102" y="-124691"/>
            <a:ext cx="1771051" cy="1252086"/>
          </a:xfrm>
          <a:prstGeom prst="rect">
            <a:avLst/>
          </a:prstGeom>
        </p:spPr>
      </p:pic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98486E8F-939B-40CE-BB02-2253BBE56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40" y="242903"/>
            <a:ext cx="9078800" cy="5110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T</a:t>
            </a:r>
            <a:r>
              <a:rPr lang="en-US" dirty="0" err="1"/>
              <a:t>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204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1FD634-FC75-452F-AB48-07A8E28141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87494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95" imgH="396" progId="TCLayout.ActiveDocument.1">
                  <p:embed/>
                </p:oleObj>
              </mc:Choice>
              <mc:Fallback>
                <p:oleObj name="Slide do think-cell" r:id="rId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1FD634-FC75-452F-AB48-07A8E2814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FF1CAE5-20F0-46F4-9E12-D58C49A91E27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" name="Picture 2" descr="A dark room&#10;&#10;Description automatically generated">
            <a:extLst>
              <a:ext uri="{FF2B5EF4-FFF2-40B4-BE49-F238E27FC236}">
                <a16:creationId xmlns:a16="http://schemas.microsoft.com/office/drawing/2014/main" id="{7D5D1E76-02A9-8244-990D-5B4679B2409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8" name="Retângulo 4">
            <a:extLst>
              <a:ext uri="{FF2B5EF4-FFF2-40B4-BE49-F238E27FC236}">
                <a16:creationId xmlns:a16="http://schemas.microsoft.com/office/drawing/2014/main" id="{63130AF4-67BE-414D-9677-DA3673564638}"/>
              </a:ext>
            </a:extLst>
          </p:cNvPr>
          <p:cNvSpPr/>
          <p:nvPr userDrawn="1"/>
        </p:nvSpPr>
        <p:spPr>
          <a:xfrm>
            <a:off x="0" y="6426200"/>
            <a:ext cx="12192000" cy="4318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srgbClr val="2857A5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6">
            <a:extLst>
              <a:ext uri="{FF2B5EF4-FFF2-40B4-BE49-F238E27FC236}">
                <a16:creationId xmlns:a16="http://schemas.microsoft.com/office/drawing/2014/main" id="{60D2F1F6-D85F-9848-8FB5-A72A2B0DCC95}"/>
              </a:ext>
            </a:extLst>
          </p:cNvPr>
          <p:cNvSpPr txBox="1"/>
          <p:nvPr userDrawn="1"/>
        </p:nvSpPr>
        <p:spPr>
          <a:xfrm>
            <a:off x="11440344" y="6574628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pt-BR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lang="pt-BR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1" name="Conector reto 8">
            <a:extLst>
              <a:ext uri="{FF2B5EF4-FFF2-40B4-BE49-F238E27FC236}">
                <a16:creationId xmlns:a16="http://schemas.microsoft.com/office/drawing/2014/main" id="{B33590F3-3C0C-9B42-A213-2A202C950DB2}"/>
              </a:ext>
            </a:extLst>
          </p:cNvPr>
          <p:cNvCxnSpPr>
            <a:cxnSpLocks/>
          </p:cNvCxnSpPr>
          <p:nvPr userDrawn="1"/>
        </p:nvCxnSpPr>
        <p:spPr>
          <a:xfrm>
            <a:off x="467544" y="817119"/>
            <a:ext cx="1131596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ADEEFA4F-850A-CD45-87D3-245945C9776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649" y="94651"/>
            <a:ext cx="1553426" cy="576779"/>
          </a:xfrm>
          <a:prstGeom prst="rect">
            <a:avLst/>
          </a:prstGeom>
        </p:spPr>
      </p:pic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98486E8F-939B-40CE-BB02-2253BBE56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40" y="242903"/>
            <a:ext cx="9078800" cy="5110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/>
              <a:t>T</a:t>
            </a:r>
            <a:r>
              <a:rPr lang="en-US" dirty="0" err="1"/>
              <a:t>ítu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487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9BAB2F56-CF83-4711-BD94-E721C6DA71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0623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6" imgW="421" imgH="423" progId="TCLayout.ActiveDocument.1">
                  <p:embed/>
                </p:oleObj>
              </mc:Choice>
              <mc:Fallback>
                <p:oleObj name="Slide do think-cell" r:id="rId6" imgW="421" imgH="42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9BAB2F56-CF83-4711-BD94-E721C6DA71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oogle Shape;6;p3" descr="A dark room&#10;&#10;Description automatically generated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7;p3"/>
          <p:cNvSpPr/>
          <p:nvPr/>
        </p:nvSpPr>
        <p:spPr>
          <a:xfrm>
            <a:off x="0" y="6426200"/>
            <a:ext cx="12192000" cy="4318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2857A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8;p3"/>
          <p:cNvSpPr txBox="1"/>
          <p:nvPr/>
        </p:nvSpPr>
        <p:spPr>
          <a:xfrm>
            <a:off x="11440344" y="6574628"/>
            <a:ext cx="381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</a:pPr>
            <a:fld id="{00000000-1234-1234-1234-123412341234}" type="slidenum">
              <a:rPr lang="pt-BR" sz="10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10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9" name="Google Shape;9;p3"/>
          <p:cNvCxnSpPr/>
          <p:nvPr/>
        </p:nvCxnSpPr>
        <p:spPr>
          <a:xfrm>
            <a:off x="467544" y="817119"/>
            <a:ext cx="11315961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" name="Google Shape;10;p3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303649" y="94651"/>
            <a:ext cx="1553426" cy="57677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3"/>
          <p:cNvSpPr txBox="1">
            <a:spLocks noGrp="1"/>
          </p:cNvSpPr>
          <p:nvPr>
            <p:ph type="title"/>
          </p:nvPr>
        </p:nvSpPr>
        <p:spPr>
          <a:xfrm>
            <a:off x="536540" y="242903"/>
            <a:ext cx="9078800" cy="511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24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36603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sv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5.svg"/><Relationship Id="rId7" Type="http://schemas.openxmlformats.org/officeDocument/2006/relationships/image" Target="../media/image11.svg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5" Type="http://schemas.openxmlformats.org/officeDocument/2006/relationships/image" Target="../media/image29.svg"/><Relationship Id="rId2" Type="http://schemas.openxmlformats.org/officeDocument/2006/relationships/tags" Target="../tags/tag15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14.x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24" Type="http://schemas.openxmlformats.org/officeDocument/2006/relationships/image" Target="../media/image28.png"/><Relationship Id="rId5" Type="http://schemas.openxmlformats.org/officeDocument/2006/relationships/image" Target="../media/image7.emf"/><Relationship Id="rId15" Type="http://schemas.openxmlformats.org/officeDocument/2006/relationships/image" Target="../media/image19.svg"/><Relationship Id="rId23" Type="http://schemas.openxmlformats.org/officeDocument/2006/relationships/image" Target="../media/image27.svg"/><Relationship Id="rId10" Type="http://schemas.openxmlformats.org/officeDocument/2006/relationships/image" Target="../media/image14.png"/><Relationship Id="rId19" Type="http://schemas.openxmlformats.org/officeDocument/2006/relationships/image" Target="../media/image23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3.sv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5" Type="http://schemas.openxmlformats.org/officeDocument/2006/relationships/image" Target="../media/image3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6" Type="http://schemas.openxmlformats.org/officeDocument/2006/relationships/image" Target="../media/image3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6">
            <a:extLst>
              <a:ext uri="{FF2B5EF4-FFF2-40B4-BE49-F238E27FC236}">
                <a16:creationId xmlns:a16="http://schemas.microsoft.com/office/drawing/2014/main" id="{8B3132C6-C792-42D2-97A8-5D04FE6CB56B}"/>
              </a:ext>
            </a:extLst>
          </p:cNvPr>
          <p:cNvSpPr/>
          <p:nvPr/>
        </p:nvSpPr>
        <p:spPr>
          <a:xfrm>
            <a:off x="2613163" y="5899308"/>
            <a:ext cx="6965674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/>
              <a:buNone/>
              <a:tabLst/>
              <a:defRPr/>
            </a:pPr>
            <a:r>
              <a:rPr kumimoji="0" lang="pt-BR" sz="17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03.03</a:t>
            </a:r>
          </a:p>
        </p:txBody>
      </p:sp>
    </p:spTree>
    <p:extLst>
      <p:ext uri="{BB962C8B-B14F-4D97-AF65-F5344CB8AC3E}">
        <p14:creationId xmlns:p14="http://schemas.microsoft.com/office/powerpoint/2010/main" val="15772402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9F87149-9030-4358-990E-D3935C3AB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73" imgH="473" progId="TCLayout.ActiveDocument.1">
                  <p:embed/>
                </p:oleObj>
              </mc:Choice>
              <mc:Fallback>
                <p:oleObj name="Slide do think-cell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9F87149-9030-4358-990E-D3935C3AB1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1B4D274-7C37-4BA2-ADAD-235367EF3B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95400" y="0"/>
            <a:ext cx="158750" cy="158750"/>
          </a:xfrm>
          <a:prstGeom prst="rect">
            <a:avLst/>
          </a:prstGeom>
          <a:solidFill>
            <a:srgbClr val="FFE8BA"/>
          </a:solidFill>
          <a:ln w="9525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2000" b="1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98" name="Title 51">
            <a:extLst>
              <a:ext uri="{FF2B5EF4-FFF2-40B4-BE49-F238E27FC236}">
                <a16:creationId xmlns:a16="http://schemas.microsoft.com/office/drawing/2014/main" id="{CFA38B5E-C043-4617-8B39-25F679DBB6CE}"/>
              </a:ext>
            </a:extLst>
          </p:cNvPr>
          <p:cNvSpPr txBox="1">
            <a:spLocks/>
          </p:cNvSpPr>
          <p:nvPr/>
        </p:nvSpPr>
        <p:spPr>
          <a:xfrm>
            <a:off x="408291" y="325492"/>
            <a:ext cx="8523758" cy="3465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bIns="27432" anchor="b"/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Plano SP – 24ª classificação (03/março)</a:t>
            </a: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graphicFrame>
        <p:nvGraphicFramePr>
          <p:cNvPr id="97" name="Table 96">
            <a:extLst>
              <a:ext uri="{FF2B5EF4-FFF2-40B4-BE49-F238E27FC236}">
                <a16:creationId xmlns:a16="http://schemas.microsoft.com/office/drawing/2014/main" id="{7BD2FD1D-8631-42F4-958E-FE8765E695B1}"/>
              </a:ext>
            </a:extLst>
          </p:cNvPr>
          <p:cNvGraphicFramePr>
            <a:graphicFrameLocks noGrp="1"/>
          </p:cNvGraphicFramePr>
          <p:nvPr/>
        </p:nvGraphicFramePr>
        <p:xfrm>
          <a:off x="2316593" y="4999120"/>
          <a:ext cx="807457" cy="1139850"/>
        </p:xfrm>
        <a:graphic>
          <a:graphicData uri="http://schemas.openxmlformats.org/drawingml/2006/table">
            <a:tbl>
              <a:tblPr firstRow="1" bandRow="1"/>
              <a:tblGrid>
                <a:gridCol w="269123">
                  <a:extLst>
                    <a:ext uri="{9D8B030D-6E8A-4147-A177-3AD203B41FA5}">
                      <a16:colId xmlns:a16="http://schemas.microsoft.com/office/drawing/2014/main" val="3806392037"/>
                    </a:ext>
                  </a:extLst>
                </a:gridCol>
                <a:gridCol w="538334">
                  <a:extLst>
                    <a:ext uri="{9D8B030D-6E8A-4147-A177-3AD203B41FA5}">
                      <a16:colId xmlns:a16="http://schemas.microsoft.com/office/drawing/2014/main" val="1594997781"/>
                    </a:ext>
                  </a:extLst>
                </a:gridCol>
              </a:tblGrid>
              <a:tr h="226446"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2B3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0" dirty="0">
                          <a:solidFill>
                            <a:schemeClr val="bg1"/>
                          </a:solidFill>
                        </a:rPr>
                        <a:t>Fase 1</a:t>
                      </a:r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6256690"/>
                  </a:ext>
                </a:extLst>
              </a:tr>
              <a:tr h="226446"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C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0" dirty="0">
                          <a:solidFill>
                            <a:schemeClr val="bg1"/>
                          </a:solidFill>
                        </a:rPr>
                        <a:t>Fase 2</a:t>
                      </a:r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2064407"/>
                  </a:ext>
                </a:extLst>
              </a:tr>
              <a:tr h="226446"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0" dirty="0">
                          <a:solidFill>
                            <a:schemeClr val="bg1"/>
                          </a:solidFill>
                        </a:rPr>
                        <a:t>Fase 3</a:t>
                      </a:r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1937717"/>
                  </a:ext>
                </a:extLst>
              </a:tr>
              <a:tr h="226446"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0" dirty="0">
                          <a:solidFill>
                            <a:schemeClr val="bg1"/>
                          </a:solidFill>
                        </a:rPr>
                        <a:t>Fase 4</a:t>
                      </a:r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4712764"/>
                  </a:ext>
                </a:extLst>
              </a:tr>
              <a:tr h="226446">
                <a:tc>
                  <a:txBody>
                    <a:bodyPr/>
                    <a:lstStyle/>
                    <a:p>
                      <a:endParaRPr lang="pt-BR" sz="1000" dirty="0"/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t-BR" sz="1000" b="0" dirty="0">
                          <a:solidFill>
                            <a:schemeClr val="bg1"/>
                          </a:solidFill>
                        </a:rPr>
                        <a:t>Fase 5</a:t>
                      </a:r>
                    </a:p>
                  </a:txBody>
                  <a:tcPr marT="37785" marB="377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395074"/>
                  </a:ext>
                </a:extLst>
              </a:tr>
            </a:tbl>
          </a:graphicData>
        </a:graphic>
      </p:graphicFrame>
      <p:pic>
        <p:nvPicPr>
          <p:cNvPr id="99" name="Picture 98">
            <a:extLst>
              <a:ext uri="{FF2B5EF4-FFF2-40B4-BE49-F238E27FC236}">
                <a16:creationId xmlns:a16="http://schemas.microsoft.com/office/drawing/2014/main" id="{3D0CA89F-E1A4-4CE2-AB3E-78E64D2110C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5275" y="225494"/>
            <a:ext cx="941312" cy="665813"/>
          </a:xfrm>
          <a:prstGeom prst="rect">
            <a:avLst/>
          </a:prstGeom>
        </p:spPr>
      </p:pic>
      <p:sp>
        <p:nvSpPr>
          <p:cNvPr id="213" name="Freeform 6">
            <a:extLst>
              <a:ext uri="{FF2B5EF4-FFF2-40B4-BE49-F238E27FC236}">
                <a16:creationId xmlns:a16="http://schemas.microsoft.com/office/drawing/2014/main" id="{832BBFB0-A401-40EF-A31C-D79BE942EF12}"/>
              </a:ext>
            </a:extLst>
          </p:cNvPr>
          <p:cNvSpPr>
            <a:spLocks/>
          </p:cNvSpPr>
          <p:nvPr/>
        </p:nvSpPr>
        <p:spPr bwMode="auto">
          <a:xfrm>
            <a:off x="4687118" y="2565276"/>
            <a:ext cx="2056246" cy="2288243"/>
          </a:xfrm>
          <a:custGeom>
            <a:avLst/>
            <a:gdLst>
              <a:gd name="T0" fmla="*/ 782 w 862"/>
              <a:gd name="T1" fmla="*/ 719 h 945"/>
              <a:gd name="T2" fmla="*/ 728 w 862"/>
              <a:gd name="T3" fmla="*/ 738 h 945"/>
              <a:gd name="T4" fmla="*/ 651 w 862"/>
              <a:gd name="T5" fmla="*/ 743 h 945"/>
              <a:gd name="T6" fmla="*/ 582 w 862"/>
              <a:gd name="T7" fmla="*/ 752 h 945"/>
              <a:gd name="T8" fmla="*/ 561 w 862"/>
              <a:gd name="T9" fmla="*/ 819 h 945"/>
              <a:gd name="T10" fmla="*/ 568 w 862"/>
              <a:gd name="T11" fmla="*/ 861 h 945"/>
              <a:gd name="T12" fmla="*/ 507 w 862"/>
              <a:gd name="T13" fmla="*/ 873 h 945"/>
              <a:gd name="T14" fmla="*/ 416 w 862"/>
              <a:gd name="T15" fmla="*/ 904 h 945"/>
              <a:gd name="T16" fmla="*/ 372 w 862"/>
              <a:gd name="T17" fmla="*/ 905 h 945"/>
              <a:gd name="T18" fmla="*/ 264 w 862"/>
              <a:gd name="T19" fmla="*/ 939 h 945"/>
              <a:gd name="T20" fmla="*/ 246 w 862"/>
              <a:gd name="T21" fmla="*/ 931 h 945"/>
              <a:gd name="T22" fmla="*/ 230 w 862"/>
              <a:gd name="T23" fmla="*/ 857 h 945"/>
              <a:gd name="T24" fmla="*/ 233 w 862"/>
              <a:gd name="T25" fmla="*/ 797 h 945"/>
              <a:gd name="T26" fmla="*/ 258 w 862"/>
              <a:gd name="T27" fmla="*/ 724 h 945"/>
              <a:gd name="T28" fmla="*/ 289 w 862"/>
              <a:gd name="T29" fmla="*/ 674 h 945"/>
              <a:gd name="T30" fmla="*/ 322 w 862"/>
              <a:gd name="T31" fmla="*/ 635 h 945"/>
              <a:gd name="T32" fmla="*/ 322 w 862"/>
              <a:gd name="T33" fmla="*/ 591 h 945"/>
              <a:gd name="T34" fmla="*/ 317 w 862"/>
              <a:gd name="T35" fmla="*/ 527 h 945"/>
              <a:gd name="T36" fmla="*/ 261 w 862"/>
              <a:gd name="T37" fmla="*/ 456 h 945"/>
              <a:gd name="T38" fmla="*/ 238 w 862"/>
              <a:gd name="T39" fmla="*/ 472 h 945"/>
              <a:gd name="T40" fmla="*/ 250 w 862"/>
              <a:gd name="T41" fmla="*/ 413 h 945"/>
              <a:gd name="T42" fmla="*/ 290 w 862"/>
              <a:gd name="T43" fmla="*/ 367 h 945"/>
              <a:gd name="T44" fmla="*/ 248 w 862"/>
              <a:gd name="T45" fmla="*/ 314 h 945"/>
              <a:gd name="T46" fmla="*/ 237 w 862"/>
              <a:gd name="T47" fmla="*/ 263 h 945"/>
              <a:gd name="T48" fmla="*/ 270 w 862"/>
              <a:gd name="T49" fmla="*/ 232 h 945"/>
              <a:gd name="T50" fmla="*/ 281 w 862"/>
              <a:gd name="T51" fmla="*/ 179 h 945"/>
              <a:gd name="T52" fmla="*/ 210 w 862"/>
              <a:gd name="T53" fmla="*/ 207 h 945"/>
              <a:gd name="T54" fmla="*/ 162 w 862"/>
              <a:gd name="T55" fmla="*/ 215 h 945"/>
              <a:gd name="T56" fmla="*/ 154 w 862"/>
              <a:gd name="T57" fmla="*/ 173 h 945"/>
              <a:gd name="T58" fmla="*/ 98 w 862"/>
              <a:gd name="T59" fmla="*/ 232 h 945"/>
              <a:gd name="T60" fmla="*/ 38 w 862"/>
              <a:gd name="T61" fmla="*/ 182 h 945"/>
              <a:gd name="T62" fmla="*/ 23 w 862"/>
              <a:gd name="T63" fmla="*/ 151 h 945"/>
              <a:gd name="T64" fmla="*/ 56 w 862"/>
              <a:gd name="T65" fmla="*/ 127 h 945"/>
              <a:gd name="T66" fmla="*/ 123 w 862"/>
              <a:gd name="T67" fmla="*/ 92 h 945"/>
              <a:gd name="T68" fmla="*/ 158 w 862"/>
              <a:gd name="T69" fmla="*/ 1 h 945"/>
              <a:gd name="T70" fmla="*/ 252 w 862"/>
              <a:gd name="T71" fmla="*/ 52 h 945"/>
              <a:gd name="T72" fmla="*/ 323 w 862"/>
              <a:gd name="T73" fmla="*/ 107 h 945"/>
              <a:gd name="T74" fmla="*/ 407 w 862"/>
              <a:gd name="T75" fmla="*/ 175 h 945"/>
              <a:gd name="T76" fmla="*/ 442 w 862"/>
              <a:gd name="T77" fmla="*/ 188 h 945"/>
              <a:gd name="T78" fmla="*/ 489 w 862"/>
              <a:gd name="T79" fmla="*/ 233 h 945"/>
              <a:gd name="T80" fmla="*/ 552 w 862"/>
              <a:gd name="T81" fmla="*/ 247 h 945"/>
              <a:gd name="T82" fmla="*/ 599 w 862"/>
              <a:gd name="T83" fmla="*/ 279 h 945"/>
              <a:gd name="T84" fmla="*/ 679 w 862"/>
              <a:gd name="T85" fmla="*/ 342 h 945"/>
              <a:gd name="T86" fmla="*/ 751 w 862"/>
              <a:gd name="T87" fmla="*/ 333 h 945"/>
              <a:gd name="T88" fmla="*/ 795 w 862"/>
              <a:gd name="T89" fmla="*/ 312 h 945"/>
              <a:gd name="T90" fmla="*/ 797 w 862"/>
              <a:gd name="T91" fmla="*/ 394 h 945"/>
              <a:gd name="T92" fmla="*/ 765 w 862"/>
              <a:gd name="T93" fmla="*/ 453 h 945"/>
              <a:gd name="T94" fmla="*/ 710 w 862"/>
              <a:gd name="T95" fmla="*/ 454 h 945"/>
              <a:gd name="T96" fmla="*/ 737 w 862"/>
              <a:gd name="T97" fmla="*/ 509 h 945"/>
              <a:gd name="T98" fmla="*/ 767 w 862"/>
              <a:gd name="T99" fmla="*/ 546 h 945"/>
              <a:gd name="T100" fmla="*/ 779 w 862"/>
              <a:gd name="T101" fmla="*/ 594 h 945"/>
              <a:gd name="T102" fmla="*/ 835 w 862"/>
              <a:gd name="T103" fmla="*/ 603 h 945"/>
              <a:gd name="T104" fmla="*/ 850 w 862"/>
              <a:gd name="T105" fmla="*/ 630 h 945"/>
              <a:gd name="T106" fmla="*/ 845 w 862"/>
              <a:gd name="T107" fmla="*/ 664 h 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62" h="945">
                <a:moveTo>
                  <a:pt x="822" y="695"/>
                </a:moveTo>
                <a:cubicBezTo>
                  <a:pt x="808" y="691"/>
                  <a:pt x="800" y="703"/>
                  <a:pt x="790" y="711"/>
                </a:cubicBezTo>
                <a:cubicBezTo>
                  <a:pt x="787" y="713"/>
                  <a:pt x="786" y="718"/>
                  <a:pt x="782" y="719"/>
                </a:cubicBezTo>
                <a:cubicBezTo>
                  <a:pt x="770" y="722"/>
                  <a:pt x="759" y="725"/>
                  <a:pt x="749" y="733"/>
                </a:cubicBezTo>
                <a:cubicBezTo>
                  <a:pt x="747" y="734"/>
                  <a:pt x="743" y="735"/>
                  <a:pt x="742" y="734"/>
                </a:cubicBezTo>
                <a:cubicBezTo>
                  <a:pt x="735" y="731"/>
                  <a:pt x="732" y="735"/>
                  <a:pt x="728" y="738"/>
                </a:cubicBezTo>
                <a:cubicBezTo>
                  <a:pt x="715" y="749"/>
                  <a:pt x="712" y="750"/>
                  <a:pt x="700" y="741"/>
                </a:cubicBezTo>
                <a:cubicBezTo>
                  <a:pt x="686" y="731"/>
                  <a:pt x="675" y="731"/>
                  <a:pt x="663" y="743"/>
                </a:cubicBezTo>
                <a:cubicBezTo>
                  <a:pt x="659" y="747"/>
                  <a:pt x="655" y="747"/>
                  <a:pt x="651" y="743"/>
                </a:cubicBezTo>
                <a:cubicBezTo>
                  <a:pt x="642" y="732"/>
                  <a:pt x="628" y="738"/>
                  <a:pt x="616" y="734"/>
                </a:cubicBezTo>
                <a:cubicBezTo>
                  <a:pt x="608" y="731"/>
                  <a:pt x="598" y="740"/>
                  <a:pt x="590" y="745"/>
                </a:cubicBezTo>
                <a:cubicBezTo>
                  <a:pt x="587" y="747"/>
                  <a:pt x="585" y="751"/>
                  <a:pt x="582" y="752"/>
                </a:cubicBezTo>
                <a:cubicBezTo>
                  <a:pt x="567" y="756"/>
                  <a:pt x="558" y="765"/>
                  <a:pt x="562" y="783"/>
                </a:cubicBezTo>
                <a:cubicBezTo>
                  <a:pt x="562" y="785"/>
                  <a:pt x="561" y="788"/>
                  <a:pt x="560" y="790"/>
                </a:cubicBezTo>
                <a:cubicBezTo>
                  <a:pt x="550" y="800"/>
                  <a:pt x="557" y="810"/>
                  <a:pt x="561" y="819"/>
                </a:cubicBezTo>
                <a:cubicBezTo>
                  <a:pt x="564" y="825"/>
                  <a:pt x="566" y="830"/>
                  <a:pt x="562" y="835"/>
                </a:cubicBezTo>
                <a:cubicBezTo>
                  <a:pt x="555" y="844"/>
                  <a:pt x="558" y="850"/>
                  <a:pt x="565" y="856"/>
                </a:cubicBezTo>
                <a:cubicBezTo>
                  <a:pt x="566" y="857"/>
                  <a:pt x="567" y="859"/>
                  <a:pt x="568" y="861"/>
                </a:cubicBezTo>
                <a:cubicBezTo>
                  <a:pt x="566" y="862"/>
                  <a:pt x="564" y="862"/>
                  <a:pt x="562" y="862"/>
                </a:cubicBezTo>
                <a:cubicBezTo>
                  <a:pt x="546" y="863"/>
                  <a:pt x="531" y="869"/>
                  <a:pt x="516" y="875"/>
                </a:cubicBezTo>
                <a:cubicBezTo>
                  <a:pt x="512" y="877"/>
                  <a:pt x="510" y="877"/>
                  <a:pt x="507" y="873"/>
                </a:cubicBezTo>
                <a:cubicBezTo>
                  <a:pt x="500" y="864"/>
                  <a:pt x="492" y="861"/>
                  <a:pt x="481" y="869"/>
                </a:cubicBezTo>
                <a:cubicBezTo>
                  <a:pt x="477" y="872"/>
                  <a:pt x="470" y="874"/>
                  <a:pt x="465" y="874"/>
                </a:cubicBezTo>
                <a:cubicBezTo>
                  <a:pt x="441" y="873"/>
                  <a:pt x="428" y="887"/>
                  <a:pt x="416" y="904"/>
                </a:cubicBezTo>
                <a:cubicBezTo>
                  <a:pt x="415" y="905"/>
                  <a:pt x="414" y="907"/>
                  <a:pt x="413" y="909"/>
                </a:cubicBezTo>
                <a:cubicBezTo>
                  <a:pt x="408" y="916"/>
                  <a:pt x="402" y="917"/>
                  <a:pt x="397" y="911"/>
                </a:cubicBezTo>
                <a:cubicBezTo>
                  <a:pt x="389" y="903"/>
                  <a:pt x="382" y="904"/>
                  <a:pt x="372" y="905"/>
                </a:cubicBezTo>
                <a:cubicBezTo>
                  <a:pt x="350" y="908"/>
                  <a:pt x="334" y="917"/>
                  <a:pt x="316" y="928"/>
                </a:cubicBezTo>
                <a:cubicBezTo>
                  <a:pt x="307" y="933"/>
                  <a:pt x="293" y="937"/>
                  <a:pt x="282" y="934"/>
                </a:cubicBezTo>
                <a:cubicBezTo>
                  <a:pt x="273" y="931"/>
                  <a:pt x="269" y="934"/>
                  <a:pt x="264" y="939"/>
                </a:cubicBezTo>
                <a:cubicBezTo>
                  <a:pt x="262" y="941"/>
                  <a:pt x="260" y="942"/>
                  <a:pt x="257" y="943"/>
                </a:cubicBezTo>
                <a:cubicBezTo>
                  <a:pt x="252" y="945"/>
                  <a:pt x="247" y="942"/>
                  <a:pt x="246" y="935"/>
                </a:cubicBezTo>
                <a:cubicBezTo>
                  <a:pt x="246" y="934"/>
                  <a:pt x="246" y="933"/>
                  <a:pt x="246" y="931"/>
                </a:cubicBezTo>
                <a:cubicBezTo>
                  <a:pt x="253" y="917"/>
                  <a:pt x="245" y="907"/>
                  <a:pt x="237" y="897"/>
                </a:cubicBezTo>
                <a:cubicBezTo>
                  <a:pt x="229" y="887"/>
                  <a:pt x="223" y="876"/>
                  <a:pt x="229" y="863"/>
                </a:cubicBezTo>
                <a:cubicBezTo>
                  <a:pt x="230" y="861"/>
                  <a:pt x="230" y="859"/>
                  <a:pt x="230" y="857"/>
                </a:cubicBezTo>
                <a:cubicBezTo>
                  <a:pt x="231" y="849"/>
                  <a:pt x="223" y="843"/>
                  <a:pt x="225" y="836"/>
                </a:cubicBezTo>
                <a:cubicBezTo>
                  <a:pt x="226" y="829"/>
                  <a:pt x="234" y="826"/>
                  <a:pt x="235" y="817"/>
                </a:cubicBezTo>
                <a:cubicBezTo>
                  <a:pt x="236" y="810"/>
                  <a:pt x="238" y="804"/>
                  <a:pt x="233" y="797"/>
                </a:cubicBezTo>
                <a:cubicBezTo>
                  <a:pt x="228" y="789"/>
                  <a:pt x="228" y="780"/>
                  <a:pt x="223" y="771"/>
                </a:cubicBezTo>
                <a:cubicBezTo>
                  <a:pt x="218" y="761"/>
                  <a:pt x="223" y="751"/>
                  <a:pt x="236" y="748"/>
                </a:cubicBezTo>
                <a:cubicBezTo>
                  <a:pt x="248" y="744"/>
                  <a:pt x="252" y="733"/>
                  <a:pt x="258" y="724"/>
                </a:cubicBezTo>
                <a:cubicBezTo>
                  <a:pt x="261" y="719"/>
                  <a:pt x="257" y="714"/>
                  <a:pt x="254" y="709"/>
                </a:cubicBezTo>
                <a:cubicBezTo>
                  <a:pt x="250" y="701"/>
                  <a:pt x="251" y="700"/>
                  <a:pt x="259" y="699"/>
                </a:cubicBezTo>
                <a:cubicBezTo>
                  <a:pt x="281" y="697"/>
                  <a:pt x="283" y="695"/>
                  <a:pt x="289" y="674"/>
                </a:cubicBezTo>
                <a:cubicBezTo>
                  <a:pt x="291" y="668"/>
                  <a:pt x="291" y="663"/>
                  <a:pt x="298" y="663"/>
                </a:cubicBezTo>
                <a:cubicBezTo>
                  <a:pt x="306" y="663"/>
                  <a:pt x="310" y="659"/>
                  <a:pt x="310" y="652"/>
                </a:cubicBezTo>
                <a:cubicBezTo>
                  <a:pt x="310" y="643"/>
                  <a:pt x="315" y="639"/>
                  <a:pt x="322" y="635"/>
                </a:cubicBezTo>
                <a:cubicBezTo>
                  <a:pt x="325" y="633"/>
                  <a:pt x="328" y="631"/>
                  <a:pt x="331" y="628"/>
                </a:cubicBezTo>
                <a:cubicBezTo>
                  <a:pt x="344" y="616"/>
                  <a:pt x="344" y="612"/>
                  <a:pt x="335" y="597"/>
                </a:cubicBezTo>
                <a:cubicBezTo>
                  <a:pt x="332" y="592"/>
                  <a:pt x="327" y="591"/>
                  <a:pt x="322" y="591"/>
                </a:cubicBezTo>
                <a:cubicBezTo>
                  <a:pt x="311" y="589"/>
                  <a:pt x="309" y="585"/>
                  <a:pt x="312" y="576"/>
                </a:cubicBezTo>
                <a:cubicBezTo>
                  <a:pt x="314" y="569"/>
                  <a:pt x="314" y="564"/>
                  <a:pt x="311" y="557"/>
                </a:cubicBezTo>
                <a:cubicBezTo>
                  <a:pt x="308" y="546"/>
                  <a:pt x="310" y="536"/>
                  <a:pt x="317" y="527"/>
                </a:cubicBezTo>
                <a:cubicBezTo>
                  <a:pt x="327" y="513"/>
                  <a:pt x="320" y="497"/>
                  <a:pt x="304" y="495"/>
                </a:cubicBezTo>
                <a:cubicBezTo>
                  <a:pt x="296" y="494"/>
                  <a:pt x="287" y="491"/>
                  <a:pt x="287" y="483"/>
                </a:cubicBezTo>
                <a:cubicBezTo>
                  <a:pt x="287" y="465"/>
                  <a:pt x="268" y="467"/>
                  <a:pt x="261" y="456"/>
                </a:cubicBezTo>
                <a:cubicBezTo>
                  <a:pt x="260" y="454"/>
                  <a:pt x="256" y="455"/>
                  <a:pt x="254" y="457"/>
                </a:cubicBezTo>
                <a:cubicBezTo>
                  <a:pt x="253" y="458"/>
                  <a:pt x="253" y="459"/>
                  <a:pt x="252" y="460"/>
                </a:cubicBezTo>
                <a:cubicBezTo>
                  <a:pt x="248" y="465"/>
                  <a:pt x="246" y="475"/>
                  <a:pt x="238" y="472"/>
                </a:cubicBezTo>
                <a:cubicBezTo>
                  <a:pt x="229" y="468"/>
                  <a:pt x="224" y="452"/>
                  <a:pt x="229" y="442"/>
                </a:cubicBezTo>
                <a:cubicBezTo>
                  <a:pt x="233" y="434"/>
                  <a:pt x="238" y="426"/>
                  <a:pt x="242" y="418"/>
                </a:cubicBezTo>
                <a:cubicBezTo>
                  <a:pt x="244" y="413"/>
                  <a:pt x="246" y="411"/>
                  <a:pt x="250" y="413"/>
                </a:cubicBezTo>
                <a:cubicBezTo>
                  <a:pt x="258" y="417"/>
                  <a:pt x="264" y="413"/>
                  <a:pt x="268" y="408"/>
                </a:cubicBezTo>
                <a:cubicBezTo>
                  <a:pt x="273" y="400"/>
                  <a:pt x="280" y="394"/>
                  <a:pt x="287" y="388"/>
                </a:cubicBezTo>
                <a:cubicBezTo>
                  <a:pt x="295" y="381"/>
                  <a:pt x="296" y="377"/>
                  <a:pt x="290" y="367"/>
                </a:cubicBezTo>
                <a:cubicBezTo>
                  <a:pt x="288" y="363"/>
                  <a:pt x="285" y="359"/>
                  <a:pt x="282" y="356"/>
                </a:cubicBezTo>
                <a:cubicBezTo>
                  <a:pt x="271" y="347"/>
                  <a:pt x="262" y="336"/>
                  <a:pt x="258" y="322"/>
                </a:cubicBezTo>
                <a:cubicBezTo>
                  <a:pt x="256" y="317"/>
                  <a:pt x="252" y="316"/>
                  <a:pt x="248" y="314"/>
                </a:cubicBezTo>
                <a:cubicBezTo>
                  <a:pt x="231" y="306"/>
                  <a:pt x="219" y="293"/>
                  <a:pt x="205" y="283"/>
                </a:cubicBezTo>
                <a:cubicBezTo>
                  <a:pt x="202" y="281"/>
                  <a:pt x="202" y="278"/>
                  <a:pt x="205" y="274"/>
                </a:cubicBezTo>
                <a:cubicBezTo>
                  <a:pt x="213" y="263"/>
                  <a:pt x="224" y="262"/>
                  <a:pt x="237" y="263"/>
                </a:cubicBezTo>
                <a:cubicBezTo>
                  <a:pt x="242" y="264"/>
                  <a:pt x="247" y="270"/>
                  <a:pt x="251" y="265"/>
                </a:cubicBezTo>
                <a:cubicBezTo>
                  <a:pt x="255" y="262"/>
                  <a:pt x="257" y="256"/>
                  <a:pt x="257" y="251"/>
                </a:cubicBezTo>
                <a:cubicBezTo>
                  <a:pt x="258" y="242"/>
                  <a:pt x="263" y="237"/>
                  <a:pt x="270" y="232"/>
                </a:cubicBezTo>
                <a:cubicBezTo>
                  <a:pt x="278" y="227"/>
                  <a:pt x="285" y="221"/>
                  <a:pt x="292" y="215"/>
                </a:cubicBezTo>
                <a:cubicBezTo>
                  <a:pt x="303" y="204"/>
                  <a:pt x="303" y="196"/>
                  <a:pt x="296" y="183"/>
                </a:cubicBezTo>
                <a:cubicBezTo>
                  <a:pt x="292" y="177"/>
                  <a:pt x="287" y="175"/>
                  <a:pt x="281" y="179"/>
                </a:cubicBezTo>
                <a:cubicBezTo>
                  <a:pt x="274" y="183"/>
                  <a:pt x="266" y="186"/>
                  <a:pt x="261" y="193"/>
                </a:cubicBezTo>
                <a:cubicBezTo>
                  <a:pt x="259" y="195"/>
                  <a:pt x="256" y="200"/>
                  <a:pt x="253" y="198"/>
                </a:cubicBezTo>
                <a:cubicBezTo>
                  <a:pt x="237" y="190"/>
                  <a:pt x="226" y="213"/>
                  <a:pt x="210" y="207"/>
                </a:cubicBezTo>
                <a:cubicBezTo>
                  <a:pt x="201" y="212"/>
                  <a:pt x="193" y="217"/>
                  <a:pt x="187" y="226"/>
                </a:cubicBezTo>
                <a:cubicBezTo>
                  <a:pt x="184" y="230"/>
                  <a:pt x="182" y="236"/>
                  <a:pt x="175" y="233"/>
                </a:cubicBezTo>
                <a:cubicBezTo>
                  <a:pt x="165" y="229"/>
                  <a:pt x="161" y="223"/>
                  <a:pt x="162" y="215"/>
                </a:cubicBezTo>
                <a:cubicBezTo>
                  <a:pt x="163" y="211"/>
                  <a:pt x="164" y="207"/>
                  <a:pt x="166" y="203"/>
                </a:cubicBezTo>
                <a:cubicBezTo>
                  <a:pt x="173" y="192"/>
                  <a:pt x="171" y="189"/>
                  <a:pt x="160" y="178"/>
                </a:cubicBezTo>
                <a:cubicBezTo>
                  <a:pt x="158" y="176"/>
                  <a:pt x="156" y="175"/>
                  <a:pt x="154" y="173"/>
                </a:cubicBezTo>
                <a:cubicBezTo>
                  <a:pt x="146" y="168"/>
                  <a:pt x="140" y="170"/>
                  <a:pt x="136" y="179"/>
                </a:cubicBezTo>
                <a:cubicBezTo>
                  <a:pt x="133" y="186"/>
                  <a:pt x="133" y="195"/>
                  <a:pt x="126" y="202"/>
                </a:cubicBezTo>
                <a:cubicBezTo>
                  <a:pt x="118" y="213"/>
                  <a:pt x="105" y="219"/>
                  <a:pt x="98" y="232"/>
                </a:cubicBezTo>
                <a:cubicBezTo>
                  <a:pt x="95" y="236"/>
                  <a:pt x="90" y="233"/>
                  <a:pt x="87" y="231"/>
                </a:cubicBezTo>
                <a:cubicBezTo>
                  <a:pt x="82" y="227"/>
                  <a:pt x="77" y="222"/>
                  <a:pt x="73" y="217"/>
                </a:cubicBezTo>
                <a:cubicBezTo>
                  <a:pt x="63" y="204"/>
                  <a:pt x="47" y="197"/>
                  <a:pt x="38" y="182"/>
                </a:cubicBezTo>
                <a:cubicBezTo>
                  <a:pt x="35" y="175"/>
                  <a:pt x="26" y="175"/>
                  <a:pt x="20" y="171"/>
                </a:cubicBezTo>
                <a:cubicBezTo>
                  <a:pt x="12" y="167"/>
                  <a:pt x="4" y="166"/>
                  <a:pt x="0" y="156"/>
                </a:cubicBezTo>
                <a:cubicBezTo>
                  <a:pt x="8" y="154"/>
                  <a:pt x="15" y="150"/>
                  <a:pt x="23" y="151"/>
                </a:cubicBezTo>
                <a:cubicBezTo>
                  <a:pt x="32" y="152"/>
                  <a:pt x="40" y="146"/>
                  <a:pt x="49" y="147"/>
                </a:cubicBezTo>
                <a:cubicBezTo>
                  <a:pt x="52" y="147"/>
                  <a:pt x="54" y="144"/>
                  <a:pt x="54" y="140"/>
                </a:cubicBezTo>
                <a:cubicBezTo>
                  <a:pt x="55" y="136"/>
                  <a:pt x="54" y="131"/>
                  <a:pt x="56" y="127"/>
                </a:cubicBezTo>
                <a:cubicBezTo>
                  <a:pt x="59" y="122"/>
                  <a:pt x="60" y="114"/>
                  <a:pt x="69" y="118"/>
                </a:cubicBezTo>
                <a:cubicBezTo>
                  <a:pt x="83" y="110"/>
                  <a:pt x="101" y="110"/>
                  <a:pt x="114" y="99"/>
                </a:cubicBezTo>
                <a:cubicBezTo>
                  <a:pt x="117" y="97"/>
                  <a:pt x="122" y="94"/>
                  <a:pt x="123" y="92"/>
                </a:cubicBezTo>
                <a:cubicBezTo>
                  <a:pt x="123" y="75"/>
                  <a:pt x="138" y="64"/>
                  <a:pt x="138" y="48"/>
                </a:cubicBezTo>
                <a:cubicBezTo>
                  <a:pt x="138" y="36"/>
                  <a:pt x="141" y="26"/>
                  <a:pt x="149" y="17"/>
                </a:cubicBezTo>
                <a:cubicBezTo>
                  <a:pt x="154" y="12"/>
                  <a:pt x="152" y="2"/>
                  <a:pt x="158" y="1"/>
                </a:cubicBezTo>
                <a:cubicBezTo>
                  <a:pt x="164" y="0"/>
                  <a:pt x="173" y="4"/>
                  <a:pt x="178" y="8"/>
                </a:cubicBezTo>
                <a:cubicBezTo>
                  <a:pt x="191" y="17"/>
                  <a:pt x="205" y="21"/>
                  <a:pt x="220" y="25"/>
                </a:cubicBezTo>
                <a:cubicBezTo>
                  <a:pt x="234" y="29"/>
                  <a:pt x="242" y="42"/>
                  <a:pt x="252" y="52"/>
                </a:cubicBezTo>
                <a:cubicBezTo>
                  <a:pt x="257" y="58"/>
                  <a:pt x="261" y="65"/>
                  <a:pt x="266" y="71"/>
                </a:cubicBezTo>
                <a:cubicBezTo>
                  <a:pt x="275" y="86"/>
                  <a:pt x="289" y="94"/>
                  <a:pt x="307" y="95"/>
                </a:cubicBezTo>
                <a:cubicBezTo>
                  <a:pt x="315" y="95"/>
                  <a:pt x="320" y="98"/>
                  <a:pt x="323" y="107"/>
                </a:cubicBezTo>
                <a:cubicBezTo>
                  <a:pt x="329" y="127"/>
                  <a:pt x="346" y="141"/>
                  <a:pt x="369" y="136"/>
                </a:cubicBezTo>
                <a:cubicBezTo>
                  <a:pt x="378" y="134"/>
                  <a:pt x="382" y="140"/>
                  <a:pt x="383" y="147"/>
                </a:cubicBezTo>
                <a:cubicBezTo>
                  <a:pt x="387" y="160"/>
                  <a:pt x="396" y="168"/>
                  <a:pt x="407" y="175"/>
                </a:cubicBezTo>
                <a:cubicBezTo>
                  <a:pt x="416" y="180"/>
                  <a:pt x="424" y="185"/>
                  <a:pt x="435" y="180"/>
                </a:cubicBezTo>
                <a:cubicBezTo>
                  <a:pt x="438" y="178"/>
                  <a:pt x="442" y="178"/>
                  <a:pt x="444" y="181"/>
                </a:cubicBezTo>
                <a:cubicBezTo>
                  <a:pt x="446" y="184"/>
                  <a:pt x="443" y="186"/>
                  <a:pt x="442" y="188"/>
                </a:cubicBezTo>
                <a:cubicBezTo>
                  <a:pt x="436" y="200"/>
                  <a:pt x="437" y="202"/>
                  <a:pt x="448" y="208"/>
                </a:cubicBezTo>
                <a:cubicBezTo>
                  <a:pt x="458" y="213"/>
                  <a:pt x="467" y="218"/>
                  <a:pt x="472" y="228"/>
                </a:cubicBezTo>
                <a:cubicBezTo>
                  <a:pt x="474" y="234"/>
                  <a:pt x="482" y="238"/>
                  <a:pt x="489" y="233"/>
                </a:cubicBezTo>
                <a:cubicBezTo>
                  <a:pt x="499" y="227"/>
                  <a:pt x="511" y="231"/>
                  <a:pt x="521" y="226"/>
                </a:cubicBezTo>
                <a:cubicBezTo>
                  <a:pt x="524" y="224"/>
                  <a:pt x="526" y="225"/>
                  <a:pt x="528" y="227"/>
                </a:cubicBezTo>
                <a:cubicBezTo>
                  <a:pt x="535" y="235"/>
                  <a:pt x="547" y="237"/>
                  <a:pt x="552" y="247"/>
                </a:cubicBezTo>
                <a:cubicBezTo>
                  <a:pt x="556" y="254"/>
                  <a:pt x="563" y="257"/>
                  <a:pt x="569" y="261"/>
                </a:cubicBezTo>
                <a:cubicBezTo>
                  <a:pt x="578" y="265"/>
                  <a:pt x="586" y="269"/>
                  <a:pt x="592" y="276"/>
                </a:cubicBezTo>
                <a:cubicBezTo>
                  <a:pt x="594" y="278"/>
                  <a:pt x="597" y="280"/>
                  <a:pt x="599" y="279"/>
                </a:cubicBezTo>
                <a:cubicBezTo>
                  <a:pt x="610" y="271"/>
                  <a:pt x="618" y="281"/>
                  <a:pt x="621" y="286"/>
                </a:cubicBezTo>
                <a:cubicBezTo>
                  <a:pt x="628" y="297"/>
                  <a:pt x="640" y="303"/>
                  <a:pt x="645" y="317"/>
                </a:cubicBezTo>
                <a:cubicBezTo>
                  <a:pt x="649" y="331"/>
                  <a:pt x="665" y="338"/>
                  <a:pt x="679" y="342"/>
                </a:cubicBezTo>
                <a:cubicBezTo>
                  <a:pt x="684" y="344"/>
                  <a:pt x="691" y="342"/>
                  <a:pt x="695" y="337"/>
                </a:cubicBezTo>
                <a:cubicBezTo>
                  <a:pt x="704" y="326"/>
                  <a:pt x="713" y="322"/>
                  <a:pt x="727" y="331"/>
                </a:cubicBezTo>
                <a:cubicBezTo>
                  <a:pt x="734" y="337"/>
                  <a:pt x="745" y="338"/>
                  <a:pt x="751" y="333"/>
                </a:cubicBezTo>
                <a:cubicBezTo>
                  <a:pt x="760" y="326"/>
                  <a:pt x="773" y="322"/>
                  <a:pt x="774" y="308"/>
                </a:cubicBezTo>
                <a:cubicBezTo>
                  <a:pt x="774" y="302"/>
                  <a:pt x="775" y="298"/>
                  <a:pt x="781" y="305"/>
                </a:cubicBezTo>
                <a:cubicBezTo>
                  <a:pt x="785" y="309"/>
                  <a:pt x="789" y="311"/>
                  <a:pt x="795" y="312"/>
                </a:cubicBezTo>
                <a:cubicBezTo>
                  <a:pt x="806" y="314"/>
                  <a:pt x="819" y="329"/>
                  <a:pt x="820" y="340"/>
                </a:cubicBezTo>
                <a:cubicBezTo>
                  <a:pt x="820" y="341"/>
                  <a:pt x="819" y="342"/>
                  <a:pt x="819" y="343"/>
                </a:cubicBezTo>
                <a:cubicBezTo>
                  <a:pt x="806" y="358"/>
                  <a:pt x="810" y="379"/>
                  <a:pt x="797" y="394"/>
                </a:cubicBezTo>
                <a:cubicBezTo>
                  <a:pt x="791" y="401"/>
                  <a:pt x="798" y="409"/>
                  <a:pt x="801" y="416"/>
                </a:cubicBezTo>
                <a:cubicBezTo>
                  <a:pt x="802" y="418"/>
                  <a:pt x="806" y="420"/>
                  <a:pt x="803" y="423"/>
                </a:cubicBezTo>
                <a:cubicBezTo>
                  <a:pt x="791" y="433"/>
                  <a:pt x="782" y="449"/>
                  <a:pt x="765" y="453"/>
                </a:cubicBezTo>
                <a:cubicBezTo>
                  <a:pt x="762" y="454"/>
                  <a:pt x="760" y="454"/>
                  <a:pt x="757" y="452"/>
                </a:cubicBezTo>
                <a:cubicBezTo>
                  <a:pt x="755" y="450"/>
                  <a:pt x="752" y="448"/>
                  <a:pt x="749" y="447"/>
                </a:cubicBezTo>
                <a:cubicBezTo>
                  <a:pt x="735" y="445"/>
                  <a:pt x="721" y="437"/>
                  <a:pt x="710" y="454"/>
                </a:cubicBezTo>
                <a:cubicBezTo>
                  <a:pt x="709" y="456"/>
                  <a:pt x="706" y="457"/>
                  <a:pt x="703" y="458"/>
                </a:cubicBezTo>
                <a:cubicBezTo>
                  <a:pt x="689" y="466"/>
                  <a:pt x="687" y="472"/>
                  <a:pt x="695" y="485"/>
                </a:cubicBezTo>
                <a:cubicBezTo>
                  <a:pt x="705" y="500"/>
                  <a:pt x="719" y="507"/>
                  <a:pt x="737" y="509"/>
                </a:cubicBezTo>
                <a:cubicBezTo>
                  <a:pt x="748" y="511"/>
                  <a:pt x="748" y="510"/>
                  <a:pt x="747" y="521"/>
                </a:cubicBezTo>
                <a:cubicBezTo>
                  <a:pt x="745" y="531"/>
                  <a:pt x="753" y="537"/>
                  <a:pt x="758" y="545"/>
                </a:cubicBezTo>
                <a:cubicBezTo>
                  <a:pt x="760" y="548"/>
                  <a:pt x="764" y="548"/>
                  <a:pt x="767" y="546"/>
                </a:cubicBezTo>
                <a:cubicBezTo>
                  <a:pt x="771" y="545"/>
                  <a:pt x="775" y="544"/>
                  <a:pt x="772" y="550"/>
                </a:cubicBezTo>
                <a:cubicBezTo>
                  <a:pt x="769" y="556"/>
                  <a:pt x="772" y="563"/>
                  <a:pt x="769" y="569"/>
                </a:cubicBezTo>
                <a:cubicBezTo>
                  <a:pt x="762" y="582"/>
                  <a:pt x="770" y="589"/>
                  <a:pt x="779" y="594"/>
                </a:cubicBezTo>
                <a:cubicBezTo>
                  <a:pt x="791" y="601"/>
                  <a:pt x="804" y="607"/>
                  <a:pt x="818" y="596"/>
                </a:cubicBezTo>
                <a:cubicBezTo>
                  <a:pt x="822" y="592"/>
                  <a:pt x="828" y="589"/>
                  <a:pt x="830" y="599"/>
                </a:cubicBezTo>
                <a:cubicBezTo>
                  <a:pt x="831" y="600"/>
                  <a:pt x="833" y="602"/>
                  <a:pt x="835" y="603"/>
                </a:cubicBezTo>
                <a:cubicBezTo>
                  <a:pt x="839" y="606"/>
                  <a:pt x="846" y="599"/>
                  <a:pt x="848" y="604"/>
                </a:cubicBezTo>
                <a:cubicBezTo>
                  <a:pt x="850" y="607"/>
                  <a:pt x="845" y="612"/>
                  <a:pt x="845" y="617"/>
                </a:cubicBezTo>
                <a:cubicBezTo>
                  <a:pt x="846" y="622"/>
                  <a:pt x="846" y="626"/>
                  <a:pt x="850" y="630"/>
                </a:cubicBezTo>
                <a:cubicBezTo>
                  <a:pt x="854" y="632"/>
                  <a:pt x="862" y="632"/>
                  <a:pt x="860" y="638"/>
                </a:cubicBezTo>
                <a:cubicBezTo>
                  <a:pt x="857" y="646"/>
                  <a:pt x="859" y="656"/>
                  <a:pt x="850" y="661"/>
                </a:cubicBezTo>
                <a:cubicBezTo>
                  <a:pt x="848" y="662"/>
                  <a:pt x="846" y="663"/>
                  <a:pt x="845" y="664"/>
                </a:cubicBezTo>
                <a:cubicBezTo>
                  <a:pt x="842" y="666"/>
                  <a:pt x="842" y="669"/>
                  <a:pt x="842" y="673"/>
                </a:cubicBezTo>
                <a:cubicBezTo>
                  <a:pt x="846" y="695"/>
                  <a:pt x="846" y="695"/>
                  <a:pt x="822" y="695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4" name="Freeform 7">
            <a:extLst>
              <a:ext uri="{FF2B5EF4-FFF2-40B4-BE49-F238E27FC236}">
                <a16:creationId xmlns:a16="http://schemas.microsoft.com/office/drawing/2014/main" id="{CA3B95FB-8F1B-470D-9C16-CE295143B471}"/>
              </a:ext>
            </a:extLst>
          </p:cNvPr>
          <p:cNvSpPr>
            <a:spLocks/>
          </p:cNvSpPr>
          <p:nvPr/>
        </p:nvSpPr>
        <p:spPr bwMode="auto">
          <a:xfrm>
            <a:off x="3999580" y="1195237"/>
            <a:ext cx="2081710" cy="1665350"/>
          </a:xfrm>
          <a:custGeom>
            <a:avLst/>
            <a:gdLst>
              <a:gd name="T0" fmla="*/ 645 w 873"/>
              <a:gd name="T1" fmla="*/ 259 h 688"/>
              <a:gd name="T2" fmla="*/ 673 w 873"/>
              <a:gd name="T3" fmla="*/ 297 h 688"/>
              <a:gd name="T4" fmla="*/ 683 w 873"/>
              <a:gd name="T5" fmla="*/ 355 h 688"/>
              <a:gd name="T6" fmla="*/ 706 w 873"/>
              <a:gd name="T7" fmla="*/ 390 h 688"/>
              <a:gd name="T8" fmla="*/ 729 w 873"/>
              <a:gd name="T9" fmla="*/ 404 h 688"/>
              <a:gd name="T10" fmla="*/ 787 w 873"/>
              <a:gd name="T11" fmla="*/ 428 h 688"/>
              <a:gd name="T12" fmla="*/ 845 w 873"/>
              <a:gd name="T13" fmla="*/ 465 h 688"/>
              <a:gd name="T14" fmla="*/ 871 w 873"/>
              <a:gd name="T15" fmla="*/ 486 h 688"/>
              <a:gd name="T16" fmla="*/ 829 w 873"/>
              <a:gd name="T17" fmla="*/ 504 h 688"/>
              <a:gd name="T18" fmla="*/ 818 w 873"/>
              <a:gd name="T19" fmla="*/ 522 h 688"/>
              <a:gd name="T20" fmla="*/ 847 w 873"/>
              <a:gd name="T21" fmla="*/ 549 h 688"/>
              <a:gd name="T22" fmla="*/ 834 w 873"/>
              <a:gd name="T23" fmla="*/ 588 h 688"/>
              <a:gd name="T24" fmla="*/ 765 w 873"/>
              <a:gd name="T25" fmla="*/ 587 h 688"/>
              <a:gd name="T26" fmla="*/ 721 w 873"/>
              <a:gd name="T27" fmla="*/ 620 h 688"/>
              <a:gd name="T28" fmla="*/ 694 w 873"/>
              <a:gd name="T29" fmla="*/ 622 h 688"/>
              <a:gd name="T30" fmla="*/ 654 w 873"/>
              <a:gd name="T31" fmla="*/ 670 h 688"/>
              <a:gd name="T32" fmla="*/ 627 w 873"/>
              <a:gd name="T33" fmla="*/ 679 h 688"/>
              <a:gd name="T34" fmla="*/ 590 w 873"/>
              <a:gd name="T35" fmla="*/ 648 h 688"/>
              <a:gd name="T36" fmla="*/ 539 w 873"/>
              <a:gd name="T37" fmla="*/ 601 h 688"/>
              <a:gd name="T38" fmla="*/ 450 w 873"/>
              <a:gd name="T39" fmla="*/ 552 h 688"/>
              <a:gd name="T40" fmla="*/ 367 w 873"/>
              <a:gd name="T41" fmla="*/ 523 h 688"/>
              <a:gd name="T42" fmla="*/ 340 w 873"/>
              <a:gd name="T43" fmla="*/ 518 h 688"/>
              <a:gd name="T44" fmla="*/ 374 w 873"/>
              <a:gd name="T45" fmla="*/ 443 h 688"/>
              <a:gd name="T46" fmla="*/ 340 w 873"/>
              <a:gd name="T47" fmla="*/ 401 h 688"/>
              <a:gd name="T48" fmla="*/ 287 w 873"/>
              <a:gd name="T49" fmla="*/ 364 h 688"/>
              <a:gd name="T50" fmla="*/ 264 w 873"/>
              <a:gd name="T51" fmla="*/ 325 h 688"/>
              <a:gd name="T52" fmla="*/ 228 w 873"/>
              <a:gd name="T53" fmla="*/ 331 h 688"/>
              <a:gd name="T54" fmla="*/ 221 w 873"/>
              <a:gd name="T55" fmla="*/ 360 h 688"/>
              <a:gd name="T56" fmla="*/ 209 w 873"/>
              <a:gd name="T57" fmla="*/ 349 h 688"/>
              <a:gd name="T58" fmla="*/ 207 w 873"/>
              <a:gd name="T59" fmla="*/ 298 h 688"/>
              <a:gd name="T60" fmla="*/ 177 w 873"/>
              <a:gd name="T61" fmla="*/ 265 h 688"/>
              <a:gd name="T62" fmla="*/ 100 w 873"/>
              <a:gd name="T63" fmla="*/ 275 h 688"/>
              <a:gd name="T64" fmla="*/ 61 w 873"/>
              <a:gd name="T65" fmla="*/ 280 h 688"/>
              <a:gd name="T66" fmla="*/ 36 w 873"/>
              <a:gd name="T67" fmla="*/ 241 h 688"/>
              <a:gd name="T68" fmla="*/ 8 w 873"/>
              <a:gd name="T69" fmla="*/ 204 h 688"/>
              <a:gd name="T70" fmla="*/ 23 w 873"/>
              <a:gd name="T71" fmla="*/ 151 h 688"/>
              <a:gd name="T72" fmla="*/ 80 w 873"/>
              <a:gd name="T73" fmla="*/ 73 h 688"/>
              <a:gd name="T74" fmla="*/ 170 w 873"/>
              <a:gd name="T75" fmla="*/ 26 h 688"/>
              <a:gd name="T76" fmla="*/ 221 w 873"/>
              <a:gd name="T77" fmla="*/ 5 h 688"/>
              <a:gd name="T78" fmla="*/ 267 w 873"/>
              <a:gd name="T79" fmla="*/ 33 h 688"/>
              <a:gd name="T80" fmla="*/ 348 w 873"/>
              <a:gd name="T81" fmla="*/ 40 h 688"/>
              <a:gd name="T82" fmla="*/ 403 w 873"/>
              <a:gd name="T83" fmla="*/ 52 h 688"/>
              <a:gd name="T84" fmla="*/ 462 w 873"/>
              <a:gd name="T85" fmla="*/ 50 h 688"/>
              <a:gd name="T86" fmla="*/ 547 w 873"/>
              <a:gd name="T87" fmla="*/ 52 h 688"/>
              <a:gd name="T88" fmla="*/ 607 w 873"/>
              <a:gd name="T89" fmla="*/ 69 h 688"/>
              <a:gd name="T90" fmla="*/ 627 w 873"/>
              <a:gd name="T91" fmla="*/ 65 h 688"/>
              <a:gd name="T92" fmla="*/ 625 w 873"/>
              <a:gd name="T93" fmla="*/ 71 h 688"/>
              <a:gd name="T94" fmla="*/ 624 w 873"/>
              <a:gd name="T95" fmla="*/ 156 h 688"/>
              <a:gd name="T96" fmla="*/ 677 w 873"/>
              <a:gd name="T97" fmla="*/ 191 h 688"/>
              <a:gd name="T98" fmla="*/ 691 w 873"/>
              <a:gd name="T99" fmla="*/ 189 h 688"/>
              <a:gd name="T100" fmla="*/ 696 w 873"/>
              <a:gd name="T101" fmla="*/ 216 h 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73" h="688">
                <a:moveTo>
                  <a:pt x="660" y="242"/>
                </a:moveTo>
                <a:cubicBezTo>
                  <a:pt x="645" y="241"/>
                  <a:pt x="642" y="245"/>
                  <a:pt x="645" y="259"/>
                </a:cubicBezTo>
                <a:cubicBezTo>
                  <a:pt x="648" y="270"/>
                  <a:pt x="655" y="278"/>
                  <a:pt x="661" y="286"/>
                </a:cubicBezTo>
                <a:cubicBezTo>
                  <a:pt x="665" y="290"/>
                  <a:pt x="669" y="293"/>
                  <a:pt x="673" y="297"/>
                </a:cubicBezTo>
                <a:cubicBezTo>
                  <a:pt x="680" y="305"/>
                  <a:pt x="684" y="314"/>
                  <a:pt x="680" y="325"/>
                </a:cubicBezTo>
                <a:cubicBezTo>
                  <a:pt x="676" y="335"/>
                  <a:pt x="677" y="346"/>
                  <a:pt x="683" y="355"/>
                </a:cubicBezTo>
                <a:cubicBezTo>
                  <a:pt x="684" y="358"/>
                  <a:pt x="685" y="362"/>
                  <a:pt x="686" y="365"/>
                </a:cubicBezTo>
                <a:cubicBezTo>
                  <a:pt x="689" y="376"/>
                  <a:pt x="693" y="386"/>
                  <a:pt x="706" y="390"/>
                </a:cubicBezTo>
                <a:cubicBezTo>
                  <a:pt x="710" y="391"/>
                  <a:pt x="713" y="395"/>
                  <a:pt x="716" y="398"/>
                </a:cubicBezTo>
                <a:cubicBezTo>
                  <a:pt x="720" y="401"/>
                  <a:pt x="724" y="405"/>
                  <a:pt x="729" y="404"/>
                </a:cubicBezTo>
                <a:cubicBezTo>
                  <a:pt x="737" y="404"/>
                  <a:pt x="742" y="409"/>
                  <a:pt x="749" y="412"/>
                </a:cubicBezTo>
                <a:cubicBezTo>
                  <a:pt x="761" y="417"/>
                  <a:pt x="773" y="424"/>
                  <a:pt x="787" y="428"/>
                </a:cubicBezTo>
                <a:cubicBezTo>
                  <a:pt x="802" y="433"/>
                  <a:pt x="817" y="441"/>
                  <a:pt x="829" y="454"/>
                </a:cubicBezTo>
                <a:cubicBezTo>
                  <a:pt x="833" y="459"/>
                  <a:pt x="839" y="462"/>
                  <a:pt x="845" y="465"/>
                </a:cubicBezTo>
                <a:cubicBezTo>
                  <a:pt x="851" y="468"/>
                  <a:pt x="858" y="470"/>
                  <a:pt x="863" y="475"/>
                </a:cubicBezTo>
                <a:cubicBezTo>
                  <a:pt x="866" y="477"/>
                  <a:pt x="873" y="480"/>
                  <a:pt x="871" y="486"/>
                </a:cubicBezTo>
                <a:cubicBezTo>
                  <a:pt x="869" y="493"/>
                  <a:pt x="865" y="497"/>
                  <a:pt x="858" y="497"/>
                </a:cubicBezTo>
                <a:cubicBezTo>
                  <a:pt x="848" y="497"/>
                  <a:pt x="839" y="501"/>
                  <a:pt x="829" y="504"/>
                </a:cubicBezTo>
                <a:cubicBezTo>
                  <a:pt x="827" y="505"/>
                  <a:pt x="824" y="505"/>
                  <a:pt x="822" y="507"/>
                </a:cubicBezTo>
                <a:cubicBezTo>
                  <a:pt x="816" y="511"/>
                  <a:pt x="814" y="515"/>
                  <a:pt x="818" y="522"/>
                </a:cubicBezTo>
                <a:cubicBezTo>
                  <a:pt x="823" y="529"/>
                  <a:pt x="828" y="536"/>
                  <a:pt x="836" y="540"/>
                </a:cubicBezTo>
                <a:cubicBezTo>
                  <a:pt x="840" y="543"/>
                  <a:pt x="844" y="545"/>
                  <a:pt x="847" y="549"/>
                </a:cubicBezTo>
                <a:cubicBezTo>
                  <a:pt x="849" y="551"/>
                  <a:pt x="851" y="556"/>
                  <a:pt x="849" y="558"/>
                </a:cubicBezTo>
                <a:cubicBezTo>
                  <a:pt x="841" y="566"/>
                  <a:pt x="840" y="578"/>
                  <a:pt x="834" y="588"/>
                </a:cubicBezTo>
                <a:cubicBezTo>
                  <a:pt x="826" y="601"/>
                  <a:pt x="817" y="606"/>
                  <a:pt x="802" y="600"/>
                </a:cubicBezTo>
                <a:cubicBezTo>
                  <a:pt x="790" y="596"/>
                  <a:pt x="776" y="596"/>
                  <a:pt x="765" y="587"/>
                </a:cubicBezTo>
                <a:cubicBezTo>
                  <a:pt x="760" y="583"/>
                  <a:pt x="755" y="585"/>
                  <a:pt x="751" y="590"/>
                </a:cubicBezTo>
                <a:cubicBezTo>
                  <a:pt x="742" y="601"/>
                  <a:pt x="728" y="607"/>
                  <a:pt x="721" y="620"/>
                </a:cubicBezTo>
                <a:cubicBezTo>
                  <a:pt x="718" y="626"/>
                  <a:pt x="712" y="631"/>
                  <a:pt x="705" y="622"/>
                </a:cubicBezTo>
                <a:cubicBezTo>
                  <a:pt x="701" y="617"/>
                  <a:pt x="697" y="618"/>
                  <a:pt x="694" y="622"/>
                </a:cubicBezTo>
                <a:cubicBezTo>
                  <a:pt x="684" y="633"/>
                  <a:pt x="671" y="642"/>
                  <a:pt x="667" y="656"/>
                </a:cubicBezTo>
                <a:cubicBezTo>
                  <a:pt x="665" y="664"/>
                  <a:pt x="661" y="668"/>
                  <a:pt x="654" y="670"/>
                </a:cubicBezTo>
                <a:cubicBezTo>
                  <a:pt x="649" y="672"/>
                  <a:pt x="645" y="676"/>
                  <a:pt x="642" y="680"/>
                </a:cubicBezTo>
                <a:cubicBezTo>
                  <a:pt x="634" y="688"/>
                  <a:pt x="632" y="687"/>
                  <a:pt x="627" y="679"/>
                </a:cubicBezTo>
                <a:cubicBezTo>
                  <a:pt x="626" y="678"/>
                  <a:pt x="625" y="676"/>
                  <a:pt x="625" y="674"/>
                </a:cubicBezTo>
                <a:cubicBezTo>
                  <a:pt x="620" y="656"/>
                  <a:pt x="610" y="647"/>
                  <a:pt x="590" y="648"/>
                </a:cubicBezTo>
                <a:cubicBezTo>
                  <a:pt x="579" y="649"/>
                  <a:pt x="571" y="640"/>
                  <a:pt x="564" y="632"/>
                </a:cubicBezTo>
                <a:cubicBezTo>
                  <a:pt x="555" y="622"/>
                  <a:pt x="548" y="611"/>
                  <a:pt x="539" y="601"/>
                </a:cubicBezTo>
                <a:cubicBezTo>
                  <a:pt x="530" y="589"/>
                  <a:pt x="518" y="581"/>
                  <a:pt x="504" y="577"/>
                </a:cubicBezTo>
                <a:cubicBezTo>
                  <a:pt x="485" y="571"/>
                  <a:pt x="467" y="562"/>
                  <a:pt x="450" y="552"/>
                </a:cubicBezTo>
                <a:cubicBezTo>
                  <a:pt x="437" y="545"/>
                  <a:pt x="424" y="537"/>
                  <a:pt x="410" y="532"/>
                </a:cubicBezTo>
                <a:cubicBezTo>
                  <a:pt x="396" y="527"/>
                  <a:pt x="381" y="526"/>
                  <a:pt x="367" y="523"/>
                </a:cubicBezTo>
                <a:cubicBezTo>
                  <a:pt x="361" y="522"/>
                  <a:pt x="356" y="519"/>
                  <a:pt x="350" y="522"/>
                </a:cubicBezTo>
                <a:cubicBezTo>
                  <a:pt x="345" y="523"/>
                  <a:pt x="342" y="523"/>
                  <a:pt x="340" y="518"/>
                </a:cubicBezTo>
                <a:cubicBezTo>
                  <a:pt x="339" y="513"/>
                  <a:pt x="334" y="510"/>
                  <a:pt x="338" y="504"/>
                </a:cubicBezTo>
                <a:cubicBezTo>
                  <a:pt x="349" y="483"/>
                  <a:pt x="356" y="460"/>
                  <a:pt x="374" y="443"/>
                </a:cubicBezTo>
                <a:cubicBezTo>
                  <a:pt x="379" y="438"/>
                  <a:pt x="378" y="432"/>
                  <a:pt x="374" y="427"/>
                </a:cubicBezTo>
                <a:cubicBezTo>
                  <a:pt x="364" y="416"/>
                  <a:pt x="355" y="405"/>
                  <a:pt x="340" y="401"/>
                </a:cubicBezTo>
                <a:cubicBezTo>
                  <a:pt x="325" y="397"/>
                  <a:pt x="313" y="390"/>
                  <a:pt x="299" y="384"/>
                </a:cubicBezTo>
                <a:cubicBezTo>
                  <a:pt x="290" y="380"/>
                  <a:pt x="286" y="374"/>
                  <a:pt x="287" y="364"/>
                </a:cubicBezTo>
                <a:cubicBezTo>
                  <a:pt x="287" y="357"/>
                  <a:pt x="287" y="350"/>
                  <a:pt x="286" y="342"/>
                </a:cubicBezTo>
                <a:cubicBezTo>
                  <a:pt x="284" y="329"/>
                  <a:pt x="278" y="324"/>
                  <a:pt x="264" y="325"/>
                </a:cubicBezTo>
                <a:cubicBezTo>
                  <a:pt x="256" y="325"/>
                  <a:pt x="248" y="329"/>
                  <a:pt x="239" y="325"/>
                </a:cubicBezTo>
                <a:cubicBezTo>
                  <a:pt x="235" y="322"/>
                  <a:pt x="231" y="327"/>
                  <a:pt x="228" y="331"/>
                </a:cubicBezTo>
                <a:cubicBezTo>
                  <a:pt x="224" y="338"/>
                  <a:pt x="226" y="345"/>
                  <a:pt x="225" y="353"/>
                </a:cubicBezTo>
                <a:cubicBezTo>
                  <a:pt x="225" y="356"/>
                  <a:pt x="225" y="359"/>
                  <a:pt x="221" y="360"/>
                </a:cubicBezTo>
                <a:cubicBezTo>
                  <a:pt x="217" y="361"/>
                  <a:pt x="213" y="360"/>
                  <a:pt x="210" y="358"/>
                </a:cubicBezTo>
                <a:cubicBezTo>
                  <a:pt x="207" y="355"/>
                  <a:pt x="207" y="352"/>
                  <a:pt x="209" y="349"/>
                </a:cubicBezTo>
                <a:cubicBezTo>
                  <a:pt x="218" y="336"/>
                  <a:pt x="217" y="323"/>
                  <a:pt x="210" y="309"/>
                </a:cubicBezTo>
                <a:cubicBezTo>
                  <a:pt x="209" y="306"/>
                  <a:pt x="207" y="302"/>
                  <a:pt x="207" y="298"/>
                </a:cubicBezTo>
                <a:cubicBezTo>
                  <a:pt x="206" y="291"/>
                  <a:pt x="209" y="284"/>
                  <a:pt x="203" y="279"/>
                </a:cubicBezTo>
                <a:cubicBezTo>
                  <a:pt x="195" y="273"/>
                  <a:pt x="186" y="268"/>
                  <a:pt x="177" y="265"/>
                </a:cubicBezTo>
                <a:cubicBezTo>
                  <a:pt x="162" y="258"/>
                  <a:pt x="147" y="265"/>
                  <a:pt x="132" y="269"/>
                </a:cubicBezTo>
                <a:cubicBezTo>
                  <a:pt x="122" y="272"/>
                  <a:pt x="111" y="276"/>
                  <a:pt x="100" y="275"/>
                </a:cubicBezTo>
                <a:cubicBezTo>
                  <a:pt x="93" y="275"/>
                  <a:pt x="87" y="276"/>
                  <a:pt x="80" y="278"/>
                </a:cubicBezTo>
                <a:cubicBezTo>
                  <a:pt x="74" y="280"/>
                  <a:pt x="67" y="280"/>
                  <a:pt x="61" y="280"/>
                </a:cubicBezTo>
                <a:cubicBezTo>
                  <a:pt x="53" y="281"/>
                  <a:pt x="48" y="279"/>
                  <a:pt x="46" y="271"/>
                </a:cubicBezTo>
                <a:cubicBezTo>
                  <a:pt x="43" y="261"/>
                  <a:pt x="36" y="253"/>
                  <a:pt x="36" y="241"/>
                </a:cubicBezTo>
                <a:cubicBezTo>
                  <a:pt x="37" y="235"/>
                  <a:pt x="30" y="227"/>
                  <a:pt x="24" y="222"/>
                </a:cubicBezTo>
                <a:cubicBezTo>
                  <a:pt x="18" y="216"/>
                  <a:pt x="13" y="211"/>
                  <a:pt x="8" y="204"/>
                </a:cubicBezTo>
                <a:cubicBezTo>
                  <a:pt x="0" y="195"/>
                  <a:pt x="0" y="189"/>
                  <a:pt x="9" y="181"/>
                </a:cubicBezTo>
                <a:cubicBezTo>
                  <a:pt x="18" y="172"/>
                  <a:pt x="22" y="163"/>
                  <a:pt x="23" y="151"/>
                </a:cubicBezTo>
                <a:cubicBezTo>
                  <a:pt x="23" y="133"/>
                  <a:pt x="36" y="119"/>
                  <a:pt x="40" y="102"/>
                </a:cubicBezTo>
                <a:cubicBezTo>
                  <a:pt x="53" y="93"/>
                  <a:pt x="64" y="80"/>
                  <a:pt x="80" y="73"/>
                </a:cubicBezTo>
                <a:cubicBezTo>
                  <a:pt x="97" y="66"/>
                  <a:pt x="115" y="58"/>
                  <a:pt x="133" y="52"/>
                </a:cubicBezTo>
                <a:cubicBezTo>
                  <a:pt x="147" y="47"/>
                  <a:pt x="161" y="39"/>
                  <a:pt x="170" y="26"/>
                </a:cubicBezTo>
                <a:cubicBezTo>
                  <a:pt x="179" y="11"/>
                  <a:pt x="195" y="7"/>
                  <a:pt x="210" y="2"/>
                </a:cubicBezTo>
                <a:cubicBezTo>
                  <a:pt x="214" y="0"/>
                  <a:pt x="217" y="2"/>
                  <a:pt x="221" y="5"/>
                </a:cubicBezTo>
                <a:cubicBezTo>
                  <a:pt x="230" y="13"/>
                  <a:pt x="241" y="18"/>
                  <a:pt x="249" y="26"/>
                </a:cubicBezTo>
                <a:cubicBezTo>
                  <a:pt x="254" y="32"/>
                  <a:pt x="260" y="34"/>
                  <a:pt x="267" y="33"/>
                </a:cubicBezTo>
                <a:cubicBezTo>
                  <a:pt x="289" y="32"/>
                  <a:pt x="311" y="36"/>
                  <a:pt x="332" y="33"/>
                </a:cubicBezTo>
                <a:cubicBezTo>
                  <a:pt x="339" y="33"/>
                  <a:pt x="344" y="36"/>
                  <a:pt x="348" y="40"/>
                </a:cubicBezTo>
                <a:cubicBezTo>
                  <a:pt x="357" y="47"/>
                  <a:pt x="366" y="50"/>
                  <a:pt x="378" y="49"/>
                </a:cubicBezTo>
                <a:cubicBezTo>
                  <a:pt x="386" y="49"/>
                  <a:pt x="395" y="50"/>
                  <a:pt x="403" y="52"/>
                </a:cubicBezTo>
                <a:cubicBezTo>
                  <a:pt x="417" y="56"/>
                  <a:pt x="432" y="55"/>
                  <a:pt x="446" y="51"/>
                </a:cubicBezTo>
                <a:cubicBezTo>
                  <a:pt x="452" y="50"/>
                  <a:pt x="457" y="48"/>
                  <a:pt x="462" y="50"/>
                </a:cubicBezTo>
                <a:cubicBezTo>
                  <a:pt x="482" y="56"/>
                  <a:pt x="501" y="54"/>
                  <a:pt x="520" y="46"/>
                </a:cubicBezTo>
                <a:cubicBezTo>
                  <a:pt x="531" y="42"/>
                  <a:pt x="539" y="43"/>
                  <a:pt x="547" y="52"/>
                </a:cubicBezTo>
                <a:cubicBezTo>
                  <a:pt x="551" y="57"/>
                  <a:pt x="556" y="62"/>
                  <a:pt x="562" y="65"/>
                </a:cubicBezTo>
                <a:cubicBezTo>
                  <a:pt x="576" y="74"/>
                  <a:pt x="591" y="76"/>
                  <a:pt x="607" y="69"/>
                </a:cubicBezTo>
                <a:cubicBezTo>
                  <a:pt x="613" y="67"/>
                  <a:pt x="618" y="65"/>
                  <a:pt x="624" y="63"/>
                </a:cubicBezTo>
                <a:cubicBezTo>
                  <a:pt x="625" y="63"/>
                  <a:pt x="627" y="64"/>
                  <a:pt x="627" y="65"/>
                </a:cubicBezTo>
                <a:cubicBezTo>
                  <a:pt x="628" y="66"/>
                  <a:pt x="628" y="67"/>
                  <a:pt x="628" y="68"/>
                </a:cubicBezTo>
                <a:cubicBezTo>
                  <a:pt x="627" y="69"/>
                  <a:pt x="626" y="71"/>
                  <a:pt x="625" y="71"/>
                </a:cubicBezTo>
                <a:cubicBezTo>
                  <a:pt x="609" y="80"/>
                  <a:pt x="607" y="96"/>
                  <a:pt x="610" y="111"/>
                </a:cubicBezTo>
                <a:cubicBezTo>
                  <a:pt x="613" y="126"/>
                  <a:pt x="611" y="143"/>
                  <a:pt x="624" y="156"/>
                </a:cubicBezTo>
                <a:cubicBezTo>
                  <a:pt x="628" y="160"/>
                  <a:pt x="626" y="167"/>
                  <a:pt x="629" y="173"/>
                </a:cubicBezTo>
                <a:cubicBezTo>
                  <a:pt x="638" y="195"/>
                  <a:pt x="655" y="202"/>
                  <a:pt x="677" y="191"/>
                </a:cubicBezTo>
                <a:cubicBezTo>
                  <a:pt x="680" y="190"/>
                  <a:pt x="682" y="187"/>
                  <a:pt x="685" y="186"/>
                </a:cubicBezTo>
                <a:cubicBezTo>
                  <a:pt x="688" y="185"/>
                  <a:pt x="691" y="187"/>
                  <a:pt x="691" y="189"/>
                </a:cubicBezTo>
                <a:cubicBezTo>
                  <a:pt x="691" y="198"/>
                  <a:pt x="693" y="205"/>
                  <a:pt x="697" y="212"/>
                </a:cubicBezTo>
                <a:cubicBezTo>
                  <a:pt x="697" y="213"/>
                  <a:pt x="697" y="214"/>
                  <a:pt x="696" y="216"/>
                </a:cubicBezTo>
                <a:cubicBezTo>
                  <a:pt x="693" y="230"/>
                  <a:pt x="674" y="243"/>
                  <a:pt x="660" y="242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5" name="Freeform 8">
            <a:extLst>
              <a:ext uri="{FF2B5EF4-FFF2-40B4-BE49-F238E27FC236}">
                <a16:creationId xmlns:a16="http://schemas.microsoft.com/office/drawing/2014/main" id="{F1DE4F58-A931-4B9D-B07E-4B2C83359D61}"/>
              </a:ext>
            </a:extLst>
          </p:cNvPr>
          <p:cNvSpPr>
            <a:spLocks/>
          </p:cNvSpPr>
          <p:nvPr/>
        </p:nvSpPr>
        <p:spPr bwMode="auto">
          <a:xfrm>
            <a:off x="5247332" y="4024072"/>
            <a:ext cx="2137413" cy="1657283"/>
          </a:xfrm>
          <a:custGeom>
            <a:avLst/>
            <a:gdLst>
              <a:gd name="T0" fmla="*/ 109 w 896"/>
              <a:gd name="T1" fmla="*/ 618 h 685"/>
              <a:gd name="T2" fmla="*/ 134 w 896"/>
              <a:gd name="T3" fmla="*/ 564 h 685"/>
              <a:gd name="T4" fmla="*/ 93 w 896"/>
              <a:gd name="T5" fmla="*/ 489 h 685"/>
              <a:gd name="T6" fmla="*/ 29 w 896"/>
              <a:gd name="T7" fmla="*/ 403 h 685"/>
              <a:gd name="T8" fmla="*/ 17 w 896"/>
              <a:gd name="T9" fmla="*/ 353 h 685"/>
              <a:gd name="T10" fmla="*/ 59 w 896"/>
              <a:gd name="T11" fmla="*/ 343 h 685"/>
              <a:gd name="T12" fmla="*/ 102 w 896"/>
              <a:gd name="T13" fmla="*/ 323 h 685"/>
              <a:gd name="T14" fmla="*/ 184 w 896"/>
              <a:gd name="T15" fmla="*/ 315 h 685"/>
              <a:gd name="T16" fmla="*/ 245 w 896"/>
              <a:gd name="T17" fmla="*/ 277 h 685"/>
              <a:gd name="T18" fmla="*/ 327 w 896"/>
              <a:gd name="T19" fmla="*/ 270 h 685"/>
              <a:gd name="T20" fmla="*/ 335 w 896"/>
              <a:gd name="T21" fmla="*/ 212 h 685"/>
              <a:gd name="T22" fmla="*/ 356 w 896"/>
              <a:gd name="T23" fmla="*/ 154 h 685"/>
              <a:gd name="T24" fmla="*/ 454 w 896"/>
              <a:gd name="T25" fmla="*/ 147 h 685"/>
              <a:gd name="T26" fmla="*/ 522 w 896"/>
              <a:gd name="T27" fmla="*/ 137 h 685"/>
              <a:gd name="T28" fmla="*/ 594 w 896"/>
              <a:gd name="T29" fmla="*/ 103 h 685"/>
              <a:gd name="T30" fmla="*/ 638 w 896"/>
              <a:gd name="T31" fmla="*/ 47 h 685"/>
              <a:gd name="T32" fmla="*/ 622 w 896"/>
              <a:gd name="T33" fmla="*/ 4 h 685"/>
              <a:gd name="T34" fmla="*/ 662 w 896"/>
              <a:gd name="T35" fmla="*/ 39 h 685"/>
              <a:gd name="T36" fmla="*/ 730 w 896"/>
              <a:gd name="T37" fmla="*/ 82 h 685"/>
              <a:gd name="T38" fmla="*/ 765 w 896"/>
              <a:gd name="T39" fmla="*/ 98 h 685"/>
              <a:gd name="T40" fmla="*/ 853 w 896"/>
              <a:gd name="T41" fmla="*/ 121 h 685"/>
              <a:gd name="T42" fmla="*/ 840 w 896"/>
              <a:gd name="T43" fmla="*/ 173 h 685"/>
              <a:gd name="T44" fmla="*/ 877 w 896"/>
              <a:gd name="T45" fmla="*/ 182 h 685"/>
              <a:gd name="T46" fmla="*/ 888 w 896"/>
              <a:gd name="T47" fmla="*/ 253 h 685"/>
              <a:gd name="T48" fmla="*/ 891 w 896"/>
              <a:gd name="T49" fmla="*/ 348 h 685"/>
              <a:gd name="T50" fmla="*/ 847 w 896"/>
              <a:gd name="T51" fmla="*/ 375 h 685"/>
              <a:gd name="T52" fmla="*/ 812 w 896"/>
              <a:gd name="T53" fmla="*/ 424 h 685"/>
              <a:gd name="T54" fmla="*/ 754 w 896"/>
              <a:gd name="T55" fmla="*/ 440 h 685"/>
              <a:gd name="T56" fmla="*/ 697 w 896"/>
              <a:gd name="T57" fmla="*/ 444 h 685"/>
              <a:gd name="T58" fmla="*/ 689 w 896"/>
              <a:gd name="T59" fmla="*/ 430 h 685"/>
              <a:gd name="T60" fmla="*/ 619 w 896"/>
              <a:gd name="T61" fmla="*/ 468 h 685"/>
              <a:gd name="T62" fmla="*/ 586 w 896"/>
              <a:gd name="T63" fmla="*/ 451 h 685"/>
              <a:gd name="T64" fmla="*/ 512 w 896"/>
              <a:gd name="T65" fmla="*/ 492 h 685"/>
              <a:gd name="T66" fmla="*/ 463 w 896"/>
              <a:gd name="T67" fmla="*/ 521 h 685"/>
              <a:gd name="T68" fmla="*/ 410 w 896"/>
              <a:gd name="T69" fmla="*/ 521 h 685"/>
              <a:gd name="T70" fmla="*/ 364 w 896"/>
              <a:gd name="T71" fmla="*/ 532 h 685"/>
              <a:gd name="T72" fmla="*/ 357 w 896"/>
              <a:gd name="T73" fmla="*/ 561 h 685"/>
              <a:gd name="T74" fmla="*/ 351 w 896"/>
              <a:gd name="T75" fmla="*/ 581 h 685"/>
              <a:gd name="T76" fmla="*/ 297 w 896"/>
              <a:gd name="T77" fmla="*/ 620 h 685"/>
              <a:gd name="T78" fmla="*/ 279 w 896"/>
              <a:gd name="T79" fmla="*/ 650 h 685"/>
              <a:gd name="T80" fmla="*/ 269 w 896"/>
              <a:gd name="T81" fmla="*/ 674 h 685"/>
              <a:gd name="T82" fmla="*/ 205 w 896"/>
              <a:gd name="T83" fmla="*/ 669 h 685"/>
              <a:gd name="T84" fmla="*/ 156 w 896"/>
              <a:gd name="T85" fmla="*/ 680 h 685"/>
              <a:gd name="T86" fmla="*/ 99 w 896"/>
              <a:gd name="T87" fmla="*/ 665 h 6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96" h="685">
                <a:moveTo>
                  <a:pt x="99" y="660"/>
                </a:moveTo>
                <a:cubicBezTo>
                  <a:pt x="99" y="650"/>
                  <a:pt x="99" y="641"/>
                  <a:pt x="107" y="634"/>
                </a:cubicBezTo>
                <a:cubicBezTo>
                  <a:pt x="114" y="629"/>
                  <a:pt x="105" y="623"/>
                  <a:pt x="109" y="618"/>
                </a:cubicBezTo>
                <a:cubicBezTo>
                  <a:pt x="113" y="613"/>
                  <a:pt x="120" y="611"/>
                  <a:pt x="121" y="605"/>
                </a:cubicBezTo>
                <a:cubicBezTo>
                  <a:pt x="122" y="602"/>
                  <a:pt x="123" y="599"/>
                  <a:pt x="122" y="597"/>
                </a:cubicBezTo>
                <a:cubicBezTo>
                  <a:pt x="116" y="582"/>
                  <a:pt x="124" y="573"/>
                  <a:pt x="134" y="564"/>
                </a:cubicBezTo>
                <a:cubicBezTo>
                  <a:pt x="139" y="559"/>
                  <a:pt x="141" y="555"/>
                  <a:pt x="132" y="551"/>
                </a:cubicBezTo>
                <a:cubicBezTo>
                  <a:pt x="117" y="543"/>
                  <a:pt x="105" y="531"/>
                  <a:pt x="97" y="515"/>
                </a:cubicBezTo>
                <a:cubicBezTo>
                  <a:pt x="93" y="506"/>
                  <a:pt x="89" y="498"/>
                  <a:pt x="93" y="489"/>
                </a:cubicBezTo>
                <a:cubicBezTo>
                  <a:pt x="96" y="481"/>
                  <a:pt x="94" y="475"/>
                  <a:pt x="87" y="472"/>
                </a:cubicBezTo>
                <a:cubicBezTo>
                  <a:pt x="67" y="461"/>
                  <a:pt x="55" y="443"/>
                  <a:pt x="41" y="426"/>
                </a:cubicBezTo>
                <a:cubicBezTo>
                  <a:pt x="36" y="419"/>
                  <a:pt x="31" y="411"/>
                  <a:pt x="29" y="403"/>
                </a:cubicBezTo>
                <a:cubicBezTo>
                  <a:pt x="27" y="394"/>
                  <a:pt x="25" y="387"/>
                  <a:pt x="13" y="389"/>
                </a:cubicBezTo>
                <a:cubicBezTo>
                  <a:pt x="11" y="389"/>
                  <a:pt x="0" y="370"/>
                  <a:pt x="0" y="368"/>
                </a:cubicBezTo>
                <a:cubicBezTo>
                  <a:pt x="1" y="363"/>
                  <a:pt x="11" y="354"/>
                  <a:pt x="17" y="353"/>
                </a:cubicBezTo>
                <a:cubicBezTo>
                  <a:pt x="21" y="353"/>
                  <a:pt x="25" y="354"/>
                  <a:pt x="28" y="350"/>
                </a:cubicBezTo>
                <a:cubicBezTo>
                  <a:pt x="35" y="342"/>
                  <a:pt x="42" y="339"/>
                  <a:pt x="52" y="345"/>
                </a:cubicBezTo>
                <a:cubicBezTo>
                  <a:pt x="54" y="346"/>
                  <a:pt x="57" y="345"/>
                  <a:pt x="59" y="343"/>
                </a:cubicBezTo>
                <a:cubicBezTo>
                  <a:pt x="61" y="341"/>
                  <a:pt x="63" y="340"/>
                  <a:pt x="66" y="338"/>
                </a:cubicBezTo>
                <a:cubicBezTo>
                  <a:pt x="73" y="335"/>
                  <a:pt x="81" y="343"/>
                  <a:pt x="87" y="338"/>
                </a:cubicBezTo>
                <a:cubicBezTo>
                  <a:pt x="92" y="334"/>
                  <a:pt x="96" y="328"/>
                  <a:pt x="102" y="323"/>
                </a:cubicBezTo>
                <a:cubicBezTo>
                  <a:pt x="115" y="314"/>
                  <a:pt x="130" y="317"/>
                  <a:pt x="143" y="311"/>
                </a:cubicBezTo>
                <a:cubicBezTo>
                  <a:pt x="148" y="309"/>
                  <a:pt x="152" y="314"/>
                  <a:pt x="156" y="317"/>
                </a:cubicBezTo>
                <a:cubicBezTo>
                  <a:pt x="168" y="326"/>
                  <a:pt x="174" y="325"/>
                  <a:pt x="184" y="315"/>
                </a:cubicBezTo>
                <a:cubicBezTo>
                  <a:pt x="187" y="311"/>
                  <a:pt x="189" y="307"/>
                  <a:pt x="192" y="303"/>
                </a:cubicBezTo>
                <a:cubicBezTo>
                  <a:pt x="201" y="292"/>
                  <a:pt x="211" y="281"/>
                  <a:pt x="228" y="282"/>
                </a:cubicBezTo>
                <a:cubicBezTo>
                  <a:pt x="234" y="282"/>
                  <a:pt x="240" y="280"/>
                  <a:pt x="245" y="277"/>
                </a:cubicBezTo>
                <a:cubicBezTo>
                  <a:pt x="255" y="273"/>
                  <a:pt x="263" y="273"/>
                  <a:pt x="270" y="282"/>
                </a:cubicBezTo>
                <a:cubicBezTo>
                  <a:pt x="274" y="288"/>
                  <a:pt x="278" y="288"/>
                  <a:pt x="284" y="283"/>
                </a:cubicBezTo>
                <a:cubicBezTo>
                  <a:pt x="296" y="273"/>
                  <a:pt x="312" y="271"/>
                  <a:pt x="327" y="270"/>
                </a:cubicBezTo>
                <a:cubicBezTo>
                  <a:pt x="343" y="270"/>
                  <a:pt x="348" y="264"/>
                  <a:pt x="341" y="250"/>
                </a:cubicBezTo>
                <a:cubicBezTo>
                  <a:pt x="337" y="243"/>
                  <a:pt x="334" y="238"/>
                  <a:pt x="338" y="231"/>
                </a:cubicBezTo>
                <a:cubicBezTo>
                  <a:pt x="342" y="224"/>
                  <a:pt x="337" y="218"/>
                  <a:pt x="335" y="212"/>
                </a:cubicBezTo>
                <a:cubicBezTo>
                  <a:pt x="333" y="203"/>
                  <a:pt x="330" y="195"/>
                  <a:pt x="336" y="187"/>
                </a:cubicBezTo>
                <a:cubicBezTo>
                  <a:pt x="337" y="186"/>
                  <a:pt x="339" y="183"/>
                  <a:pt x="338" y="182"/>
                </a:cubicBezTo>
                <a:cubicBezTo>
                  <a:pt x="333" y="165"/>
                  <a:pt x="347" y="161"/>
                  <a:pt x="356" y="154"/>
                </a:cubicBezTo>
                <a:cubicBezTo>
                  <a:pt x="373" y="140"/>
                  <a:pt x="392" y="141"/>
                  <a:pt x="410" y="149"/>
                </a:cubicBezTo>
                <a:cubicBezTo>
                  <a:pt x="420" y="154"/>
                  <a:pt x="429" y="154"/>
                  <a:pt x="437" y="148"/>
                </a:cubicBezTo>
                <a:cubicBezTo>
                  <a:pt x="443" y="143"/>
                  <a:pt x="447" y="140"/>
                  <a:pt x="454" y="147"/>
                </a:cubicBezTo>
                <a:cubicBezTo>
                  <a:pt x="458" y="152"/>
                  <a:pt x="467" y="152"/>
                  <a:pt x="474" y="155"/>
                </a:cubicBezTo>
                <a:cubicBezTo>
                  <a:pt x="477" y="156"/>
                  <a:pt x="480" y="157"/>
                  <a:pt x="483" y="155"/>
                </a:cubicBezTo>
                <a:cubicBezTo>
                  <a:pt x="495" y="145"/>
                  <a:pt x="511" y="146"/>
                  <a:pt x="522" y="137"/>
                </a:cubicBezTo>
                <a:cubicBezTo>
                  <a:pt x="527" y="133"/>
                  <a:pt x="533" y="131"/>
                  <a:pt x="539" y="130"/>
                </a:cubicBezTo>
                <a:cubicBezTo>
                  <a:pt x="551" y="127"/>
                  <a:pt x="561" y="122"/>
                  <a:pt x="568" y="111"/>
                </a:cubicBezTo>
                <a:cubicBezTo>
                  <a:pt x="574" y="102"/>
                  <a:pt x="584" y="99"/>
                  <a:pt x="594" y="103"/>
                </a:cubicBezTo>
                <a:cubicBezTo>
                  <a:pt x="602" y="106"/>
                  <a:pt x="607" y="105"/>
                  <a:pt x="614" y="99"/>
                </a:cubicBezTo>
                <a:cubicBezTo>
                  <a:pt x="620" y="94"/>
                  <a:pt x="625" y="88"/>
                  <a:pt x="623" y="81"/>
                </a:cubicBezTo>
                <a:cubicBezTo>
                  <a:pt x="616" y="64"/>
                  <a:pt x="629" y="56"/>
                  <a:pt x="638" y="47"/>
                </a:cubicBezTo>
                <a:cubicBezTo>
                  <a:pt x="642" y="41"/>
                  <a:pt x="643" y="38"/>
                  <a:pt x="639" y="34"/>
                </a:cubicBezTo>
                <a:cubicBezTo>
                  <a:pt x="634" y="29"/>
                  <a:pt x="632" y="23"/>
                  <a:pt x="625" y="20"/>
                </a:cubicBezTo>
                <a:cubicBezTo>
                  <a:pt x="618" y="18"/>
                  <a:pt x="618" y="9"/>
                  <a:pt x="622" y="4"/>
                </a:cubicBezTo>
                <a:cubicBezTo>
                  <a:pt x="624" y="2"/>
                  <a:pt x="627" y="0"/>
                  <a:pt x="629" y="3"/>
                </a:cubicBezTo>
                <a:cubicBezTo>
                  <a:pt x="636" y="9"/>
                  <a:pt x="645" y="12"/>
                  <a:pt x="653" y="16"/>
                </a:cubicBezTo>
                <a:cubicBezTo>
                  <a:pt x="659" y="20"/>
                  <a:pt x="664" y="30"/>
                  <a:pt x="662" y="39"/>
                </a:cubicBezTo>
                <a:cubicBezTo>
                  <a:pt x="660" y="51"/>
                  <a:pt x="667" y="57"/>
                  <a:pt x="675" y="64"/>
                </a:cubicBezTo>
                <a:cubicBezTo>
                  <a:pt x="685" y="75"/>
                  <a:pt x="697" y="79"/>
                  <a:pt x="712" y="77"/>
                </a:cubicBezTo>
                <a:cubicBezTo>
                  <a:pt x="718" y="76"/>
                  <a:pt x="725" y="76"/>
                  <a:pt x="730" y="82"/>
                </a:cubicBezTo>
                <a:cubicBezTo>
                  <a:pt x="733" y="85"/>
                  <a:pt x="736" y="86"/>
                  <a:pt x="740" y="85"/>
                </a:cubicBezTo>
                <a:cubicBezTo>
                  <a:pt x="746" y="81"/>
                  <a:pt x="749" y="84"/>
                  <a:pt x="751" y="91"/>
                </a:cubicBezTo>
                <a:cubicBezTo>
                  <a:pt x="754" y="103"/>
                  <a:pt x="756" y="104"/>
                  <a:pt x="765" y="98"/>
                </a:cubicBezTo>
                <a:cubicBezTo>
                  <a:pt x="780" y="86"/>
                  <a:pt x="795" y="92"/>
                  <a:pt x="806" y="100"/>
                </a:cubicBezTo>
                <a:cubicBezTo>
                  <a:pt x="818" y="108"/>
                  <a:pt x="830" y="111"/>
                  <a:pt x="843" y="113"/>
                </a:cubicBezTo>
                <a:cubicBezTo>
                  <a:pt x="848" y="114"/>
                  <a:pt x="853" y="114"/>
                  <a:pt x="853" y="121"/>
                </a:cubicBezTo>
                <a:cubicBezTo>
                  <a:pt x="852" y="125"/>
                  <a:pt x="849" y="128"/>
                  <a:pt x="843" y="129"/>
                </a:cubicBezTo>
                <a:cubicBezTo>
                  <a:pt x="826" y="132"/>
                  <a:pt x="824" y="135"/>
                  <a:pt x="828" y="151"/>
                </a:cubicBezTo>
                <a:cubicBezTo>
                  <a:pt x="831" y="159"/>
                  <a:pt x="832" y="168"/>
                  <a:pt x="840" y="173"/>
                </a:cubicBezTo>
                <a:cubicBezTo>
                  <a:pt x="846" y="177"/>
                  <a:pt x="846" y="184"/>
                  <a:pt x="849" y="188"/>
                </a:cubicBezTo>
                <a:cubicBezTo>
                  <a:pt x="857" y="200"/>
                  <a:pt x="865" y="200"/>
                  <a:pt x="871" y="187"/>
                </a:cubicBezTo>
                <a:cubicBezTo>
                  <a:pt x="873" y="184"/>
                  <a:pt x="874" y="182"/>
                  <a:pt x="877" y="182"/>
                </a:cubicBezTo>
                <a:cubicBezTo>
                  <a:pt x="880" y="183"/>
                  <a:pt x="882" y="185"/>
                  <a:pt x="882" y="188"/>
                </a:cubicBezTo>
                <a:cubicBezTo>
                  <a:pt x="879" y="205"/>
                  <a:pt x="886" y="219"/>
                  <a:pt x="893" y="234"/>
                </a:cubicBezTo>
                <a:cubicBezTo>
                  <a:pt x="896" y="241"/>
                  <a:pt x="892" y="248"/>
                  <a:pt x="888" y="253"/>
                </a:cubicBezTo>
                <a:cubicBezTo>
                  <a:pt x="880" y="264"/>
                  <a:pt x="877" y="279"/>
                  <a:pt x="866" y="288"/>
                </a:cubicBezTo>
                <a:cubicBezTo>
                  <a:pt x="863" y="290"/>
                  <a:pt x="862" y="295"/>
                  <a:pt x="865" y="299"/>
                </a:cubicBezTo>
                <a:cubicBezTo>
                  <a:pt x="876" y="314"/>
                  <a:pt x="877" y="335"/>
                  <a:pt x="891" y="348"/>
                </a:cubicBezTo>
                <a:cubicBezTo>
                  <a:pt x="895" y="352"/>
                  <a:pt x="892" y="355"/>
                  <a:pt x="888" y="355"/>
                </a:cubicBezTo>
                <a:cubicBezTo>
                  <a:pt x="880" y="358"/>
                  <a:pt x="872" y="361"/>
                  <a:pt x="863" y="361"/>
                </a:cubicBezTo>
                <a:cubicBezTo>
                  <a:pt x="851" y="361"/>
                  <a:pt x="848" y="363"/>
                  <a:pt x="847" y="375"/>
                </a:cubicBezTo>
                <a:cubicBezTo>
                  <a:pt x="846" y="384"/>
                  <a:pt x="842" y="389"/>
                  <a:pt x="835" y="392"/>
                </a:cubicBezTo>
                <a:cubicBezTo>
                  <a:pt x="825" y="397"/>
                  <a:pt x="821" y="404"/>
                  <a:pt x="823" y="415"/>
                </a:cubicBezTo>
                <a:cubicBezTo>
                  <a:pt x="824" y="423"/>
                  <a:pt x="819" y="425"/>
                  <a:pt x="812" y="424"/>
                </a:cubicBezTo>
                <a:cubicBezTo>
                  <a:pt x="811" y="424"/>
                  <a:pt x="810" y="425"/>
                  <a:pt x="810" y="424"/>
                </a:cubicBezTo>
                <a:cubicBezTo>
                  <a:pt x="790" y="418"/>
                  <a:pt x="773" y="422"/>
                  <a:pt x="760" y="438"/>
                </a:cubicBezTo>
                <a:cubicBezTo>
                  <a:pt x="758" y="439"/>
                  <a:pt x="755" y="441"/>
                  <a:pt x="754" y="440"/>
                </a:cubicBezTo>
                <a:cubicBezTo>
                  <a:pt x="745" y="435"/>
                  <a:pt x="734" y="443"/>
                  <a:pt x="725" y="434"/>
                </a:cubicBezTo>
                <a:cubicBezTo>
                  <a:pt x="715" y="424"/>
                  <a:pt x="706" y="427"/>
                  <a:pt x="700" y="438"/>
                </a:cubicBezTo>
                <a:cubicBezTo>
                  <a:pt x="699" y="440"/>
                  <a:pt x="699" y="442"/>
                  <a:pt x="697" y="444"/>
                </a:cubicBezTo>
                <a:cubicBezTo>
                  <a:pt x="695" y="448"/>
                  <a:pt x="694" y="457"/>
                  <a:pt x="686" y="454"/>
                </a:cubicBezTo>
                <a:cubicBezTo>
                  <a:pt x="684" y="454"/>
                  <a:pt x="689" y="447"/>
                  <a:pt x="691" y="443"/>
                </a:cubicBezTo>
                <a:cubicBezTo>
                  <a:pt x="692" y="438"/>
                  <a:pt x="693" y="433"/>
                  <a:pt x="689" y="430"/>
                </a:cubicBezTo>
                <a:cubicBezTo>
                  <a:pt x="684" y="426"/>
                  <a:pt x="678" y="424"/>
                  <a:pt x="672" y="428"/>
                </a:cubicBezTo>
                <a:cubicBezTo>
                  <a:pt x="662" y="436"/>
                  <a:pt x="650" y="443"/>
                  <a:pt x="643" y="454"/>
                </a:cubicBezTo>
                <a:cubicBezTo>
                  <a:pt x="637" y="463"/>
                  <a:pt x="628" y="465"/>
                  <a:pt x="619" y="468"/>
                </a:cubicBezTo>
                <a:cubicBezTo>
                  <a:pt x="616" y="469"/>
                  <a:pt x="613" y="468"/>
                  <a:pt x="612" y="464"/>
                </a:cubicBezTo>
                <a:cubicBezTo>
                  <a:pt x="611" y="462"/>
                  <a:pt x="610" y="459"/>
                  <a:pt x="608" y="457"/>
                </a:cubicBezTo>
                <a:cubicBezTo>
                  <a:pt x="602" y="448"/>
                  <a:pt x="595" y="446"/>
                  <a:pt x="586" y="451"/>
                </a:cubicBezTo>
                <a:cubicBezTo>
                  <a:pt x="571" y="459"/>
                  <a:pt x="556" y="466"/>
                  <a:pt x="540" y="469"/>
                </a:cubicBezTo>
                <a:cubicBezTo>
                  <a:pt x="533" y="470"/>
                  <a:pt x="531" y="477"/>
                  <a:pt x="529" y="482"/>
                </a:cubicBezTo>
                <a:cubicBezTo>
                  <a:pt x="525" y="489"/>
                  <a:pt x="522" y="495"/>
                  <a:pt x="512" y="492"/>
                </a:cubicBezTo>
                <a:cubicBezTo>
                  <a:pt x="504" y="489"/>
                  <a:pt x="500" y="496"/>
                  <a:pt x="497" y="502"/>
                </a:cubicBezTo>
                <a:cubicBezTo>
                  <a:pt x="492" y="512"/>
                  <a:pt x="485" y="518"/>
                  <a:pt x="474" y="518"/>
                </a:cubicBezTo>
                <a:cubicBezTo>
                  <a:pt x="470" y="518"/>
                  <a:pt x="466" y="520"/>
                  <a:pt x="463" y="521"/>
                </a:cubicBezTo>
                <a:cubicBezTo>
                  <a:pt x="456" y="523"/>
                  <a:pt x="452" y="529"/>
                  <a:pt x="446" y="532"/>
                </a:cubicBezTo>
                <a:cubicBezTo>
                  <a:pt x="440" y="535"/>
                  <a:pt x="436" y="524"/>
                  <a:pt x="430" y="526"/>
                </a:cubicBezTo>
                <a:cubicBezTo>
                  <a:pt x="421" y="531"/>
                  <a:pt x="416" y="526"/>
                  <a:pt x="410" y="521"/>
                </a:cubicBezTo>
                <a:cubicBezTo>
                  <a:pt x="404" y="515"/>
                  <a:pt x="395" y="519"/>
                  <a:pt x="387" y="518"/>
                </a:cubicBezTo>
                <a:cubicBezTo>
                  <a:pt x="385" y="517"/>
                  <a:pt x="384" y="521"/>
                  <a:pt x="383" y="524"/>
                </a:cubicBezTo>
                <a:cubicBezTo>
                  <a:pt x="378" y="536"/>
                  <a:pt x="375" y="538"/>
                  <a:pt x="364" y="532"/>
                </a:cubicBezTo>
                <a:cubicBezTo>
                  <a:pt x="359" y="528"/>
                  <a:pt x="356" y="529"/>
                  <a:pt x="352" y="534"/>
                </a:cubicBezTo>
                <a:cubicBezTo>
                  <a:pt x="351" y="535"/>
                  <a:pt x="350" y="537"/>
                  <a:pt x="349" y="538"/>
                </a:cubicBezTo>
                <a:cubicBezTo>
                  <a:pt x="338" y="552"/>
                  <a:pt x="340" y="557"/>
                  <a:pt x="357" y="561"/>
                </a:cubicBezTo>
                <a:cubicBezTo>
                  <a:pt x="363" y="562"/>
                  <a:pt x="374" y="558"/>
                  <a:pt x="373" y="570"/>
                </a:cubicBezTo>
                <a:cubicBezTo>
                  <a:pt x="373" y="579"/>
                  <a:pt x="363" y="576"/>
                  <a:pt x="357" y="577"/>
                </a:cubicBezTo>
                <a:cubicBezTo>
                  <a:pt x="354" y="577"/>
                  <a:pt x="352" y="579"/>
                  <a:pt x="351" y="581"/>
                </a:cubicBezTo>
                <a:cubicBezTo>
                  <a:pt x="349" y="583"/>
                  <a:pt x="348" y="585"/>
                  <a:pt x="346" y="587"/>
                </a:cubicBezTo>
                <a:cubicBezTo>
                  <a:pt x="339" y="595"/>
                  <a:pt x="323" y="588"/>
                  <a:pt x="320" y="599"/>
                </a:cubicBezTo>
                <a:cubicBezTo>
                  <a:pt x="316" y="612"/>
                  <a:pt x="304" y="613"/>
                  <a:pt x="297" y="620"/>
                </a:cubicBezTo>
                <a:cubicBezTo>
                  <a:pt x="291" y="627"/>
                  <a:pt x="281" y="631"/>
                  <a:pt x="272" y="635"/>
                </a:cubicBezTo>
                <a:cubicBezTo>
                  <a:pt x="266" y="638"/>
                  <a:pt x="266" y="644"/>
                  <a:pt x="272" y="647"/>
                </a:cubicBezTo>
                <a:cubicBezTo>
                  <a:pt x="274" y="648"/>
                  <a:pt x="277" y="648"/>
                  <a:pt x="279" y="650"/>
                </a:cubicBezTo>
                <a:cubicBezTo>
                  <a:pt x="285" y="653"/>
                  <a:pt x="292" y="656"/>
                  <a:pt x="292" y="663"/>
                </a:cubicBezTo>
                <a:cubicBezTo>
                  <a:pt x="292" y="667"/>
                  <a:pt x="284" y="670"/>
                  <a:pt x="280" y="674"/>
                </a:cubicBezTo>
                <a:cubicBezTo>
                  <a:pt x="277" y="677"/>
                  <a:pt x="273" y="676"/>
                  <a:pt x="269" y="674"/>
                </a:cubicBezTo>
                <a:cubicBezTo>
                  <a:pt x="258" y="669"/>
                  <a:pt x="247" y="675"/>
                  <a:pt x="237" y="678"/>
                </a:cubicBezTo>
                <a:cubicBezTo>
                  <a:pt x="227" y="681"/>
                  <a:pt x="220" y="680"/>
                  <a:pt x="213" y="674"/>
                </a:cubicBezTo>
                <a:cubicBezTo>
                  <a:pt x="210" y="672"/>
                  <a:pt x="207" y="671"/>
                  <a:pt x="205" y="669"/>
                </a:cubicBezTo>
                <a:cubicBezTo>
                  <a:pt x="195" y="663"/>
                  <a:pt x="191" y="663"/>
                  <a:pt x="186" y="673"/>
                </a:cubicBezTo>
                <a:cubicBezTo>
                  <a:pt x="182" y="680"/>
                  <a:pt x="177" y="681"/>
                  <a:pt x="170" y="681"/>
                </a:cubicBezTo>
                <a:cubicBezTo>
                  <a:pt x="165" y="681"/>
                  <a:pt x="160" y="682"/>
                  <a:pt x="156" y="680"/>
                </a:cubicBezTo>
                <a:cubicBezTo>
                  <a:pt x="146" y="678"/>
                  <a:pt x="138" y="677"/>
                  <a:pt x="129" y="683"/>
                </a:cubicBezTo>
                <a:cubicBezTo>
                  <a:pt x="127" y="685"/>
                  <a:pt x="123" y="684"/>
                  <a:pt x="120" y="685"/>
                </a:cubicBezTo>
                <a:cubicBezTo>
                  <a:pt x="104" y="685"/>
                  <a:pt x="99" y="681"/>
                  <a:pt x="99" y="665"/>
                </a:cubicBezTo>
                <a:cubicBezTo>
                  <a:pt x="99" y="663"/>
                  <a:pt x="99" y="661"/>
                  <a:pt x="99" y="6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6" name="Freeform 9">
            <a:extLst>
              <a:ext uri="{FF2B5EF4-FFF2-40B4-BE49-F238E27FC236}">
                <a16:creationId xmlns:a16="http://schemas.microsoft.com/office/drawing/2014/main" id="{38BB0305-C94B-4033-9882-8C4EE9A29A97}"/>
              </a:ext>
            </a:extLst>
          </p:cNvPr>
          <p:cNvSpPr>
            <a:spLocks/>
          </p:cNvSpPr>
          <p:nvPr/>
        </p:nvSpPr>
        <p:spPr bwMode="auto">
          <a:xfrm>
            <a:off x="2330075" y="2379699"/>
            <a:ext cx="2150145" cy="1544323"/>
          </a:xfrm>
          <a:custGeom>
            <a:avLst/>
            <a:gdLst>
              <a:gd name="T0" fmla="*/ 432 w 901"/>
              <a:gd name="T1" fmla="*/ 57 h 638"/>
              <a:gd name="T2" fmla="*/ 438 w 901"/>
              <a:gd name="T3" fmla="*/ 25 h 638"/>
              <a:gd name="T4" fmla="*/ 481 w 901"/>
              <a:gd name="T5" fmla="*/ 21 h 638"/>
              <a:gd name="T6" fmla="*/ 506 w 901"/>
              <a:gd name="T7" fmla="*/ 39 h 638"/>
              <a:gd name="T8" fmla="*/ 616 w 901"/>
              <a:gd name="T9" fmla="*/ 90 h 638"/>
              <a:gd name="T10" fmla="*/ 614 w 901"/>
              <a:gd name="T11" fmla="*/ 135 h 638"/>
              <a:gd name="T12" fmla="*/ 609 w 901"/>
              <a:gd name="T13" fmla="*/ 194 h 638"/>
              <a:gd name="T14" fmla="*/ 626 w 901"/>
              <a:gd name="T15" fmla="*/ 240 h 638"/>
              <a:gd name="T16" fmla="*/ 640 w 901"/>
              <a:gd name="T17" fmla="*/ 263 h 638"/>
              <a:gd name="T18" fmla="*/ 701 w 901"/>
              <a:gd name="T19" fmla="*/ 308 h 638"/>
              <a:gd name="T20" fmla="*/ 792 w 901"/>
              <a:gd name="T21" fmla="*/ 345 h 638"/>
              <a:gd name="T22" fmla="*/ 852 w 901"/>
              <a:gd name="T23" fmla="*/ 364 h 638"/>
              <a:gd name="T24" fmla="*/ 899 w 901"/>
              <a:gd name="T25" fmla="*/ 400 h 638"/>
              <a:gd name="T26" fmla="*/ 888 w 901"/>
              <a:gd name="T27" fmla="*/ 422 h 638"/>
              <a:gd name="T28" fmla="*/ 873 w 901"/>
              <a:gd name="T29" fmla="*/ 447 h 638"/>
              <a:gd name="T30" fmla="*/ 838 w 901"/>
              <a:gd name="T31" fmla="*/ 450 h 638"/>
              <a:gd name="T32" fmla="*/ 830 w 901"/>
              <a:gd name="T33" fmla="*/ 481 h 638"/>
              <a:gd name="T34" fmla="*/ 778 w 901"/>
              <a:gd name="T35" fmla="*/ 517 h 638"/>
              <a:gd name="T36" fmla="*/ 779 w 901"/>
              <a:gd name="T37" fmla="*/ 578 h 638"/>
              <a:gd name="T38" fmla="*/ 752 w 901"/>
              <a:gd name="T39" fmla="*/ 589 h 638"/>
              <a:gd name="T40" fmla="*/ 734 w 901"/>
              <a:gd name="T41" fmla="*/ 630 h 638"/>
              <a:gd name="T42" fmla="*/ 685 w 901"/>
              <a:gd name="T43" fmla="*/ 627 h 638"/>
              <a:gd name="T44" fmla="*/ 617 w 901"/>
              <a:gd name="T45" fmla="*/ 591 h 638"/>
              <a:gd name="T46" fmla="*/ 562 w 901"/>
              <a:gd name="T47" fmla="*/ 597 h 638"/>
              <a:gd name="T48" fmla="*/ 493 w 901"/>
              <a:gd name="T49" fmla="*/ 594 h 638"/>
              <a:gd name="T50" fmla="*/ 473 w 901"/>
              <a:gd name="T51" fmla="*/ 585 h 638"/>
              <a:gd name="T52" fmla="*/ 409 w 901"/>
              <a:gd name="T53" fmla="*/ 569 h 638"/>
              <a:gd name="T54" fmla="*/ 352 w 901"/>
              <a:gd name="T55" fmla="*/ 544 h 638"/>
              <a:gd name="T56" fmla="*/ 322 w 901"/>
              <a:gd name="T57" fmla="*/ 568 h 638"/>
              <a:gd name="T58" fmla="*/ 315 w 901"/>
              <a:gd name="T59" fmla="*/ 591 h 638"/>
              <a:gd name="T60" fmla="*/ 281 w 901"/>
              <a:gd name="T61" fmla="*/ 584 h 638"/>
              <a:gd name="T62" fmla="*/ 239 w 901"/>
              <a:gd name="T63" fmla="*/ 579 h 638"/>
              <a:gd name="T64" fmla="*/ 187 w 901"/>
              <a:gd name="T65" fmla="*/ 573 h 638"/>
              <a:gd name="T66" fmla="*/ 149 w 901"/>
              <a:gd name="T67" fmla="*/ 578 h 638"/>
              <a:gd name="T68" fmla="*/ 89 w 901"/>
              <a:gd name="T69" fmla="*/ 578 h 638"/>
              <a:gd name="T70" fmla="*/ 53 w 901"/>
              <a:gd name="T71" fmla="*/ 567 h 638"/>
              <a:gd name="T72" fmla="*/ 16 w 901"/>
              <a:gd name="T73" fmla="*/ 587 h 638"/>
              <a:gd name="T74" fmla="*/ 6 w 901"/>
              <a:gd name="T75" fmla="*/ 577 h 638"/>
              <a:gd name="T76" fmla="*/ 72 w 901"/>
              <a:gd name="T77" fmla="*/ 530 h 638"/>
              <a:gd name="T78" fmla="*/ 155 w 901"/>
              <a:gd name="T79" fmla="*/ 470 h 638"/>
              <a:gd name="T80" fmla="*/ 227 w 901"/>
              <a:gd name="T81" fmla="*/ 425 h 638"/>
              <a:gd name="T82" fmla="*/ 307 w 901"/>
              <a:gd name="T83" fmla="*/ 306 h 638"/>
              <a:gd name="T84" fmla="*/ 342 w 901"/>
              <a:gd name="T85" fmla="*/ 260 h 638"/>
              <a:gd name="T86" fmla="*/ 357 w 901"/>
              <a:gd name="T87" fmla="*/ 197 h 638"/>
              <a:gd name="T88" fmla="*/ 371 w 901"/>
              <a:gd name="T89" fmla="*/ 173 h 638"/>
              <a:gd name="T90" fmla="*/ 413 w 901"/>
              <a:gd name="T91" fmla="*/ 136 h 638"/>
              <a:gd name="T92" fmla="*/ 435 w 901"/>
              <a:gd name="T93" fmla="*/ 83 h 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01" h="638">
                <a:moveTo>
                  <a:pt x="435" y="83"/>
                </a:moveTo>
                <a:cubicBezTo>
                  <a:pt x="434" y="73"/>
                  <a:pt x="435" y="65"/>
                  <a:pt x="432" y="57"/>
                </a:cubicBezTo>
                <a:cubicBezTo>
                  <a:pt x="429" y="51"/>
                  <a:pt x="431" y="44"/>
                  <a:pt x="430" y="37"/>
                </a:cubicBezTo>
                <a:cubicBezTo>
                  <a:pt x="430" y="31"/>
                  <a:pt x="432" y="27"/>
                  <a:pt x="438" y="25"/>
                </a:cubicBezTo>
                <a:cubicBezTo>
                  <a:pt x="445" y="21"/>
                  <a:pt x="451" y="18"/>
                  <a:pt x="456" y="13"/>
                </a:cubicBezTo>
                <a:cubicBezTo>
                  <a:pt x="470" y="0"/>
                  <a:pt x="476" y="2"/>
                  <a:pt x="481" y="21"/>
                </a:cubicBezTo>
                <a:cubicBezTo>
                  <a:pt x="484" y="29"/>
                  <a:pt x="489" y="34"/>
                  <a:pt x="497" y="38"/>
                </a:cubicBezTo>
                <a:cubicBezTo>
                  <a:pt x="500" y="39"/>
                  <a:pt x="503" y="41"/>
                  <a:pt x="506" y="39"/>
                </a:cubicBezTo>
                <a:cubicBezTo>
                  <a:pt x="513" y="34"/>
                  <a:pt x="518" y="38"/>
                  <a:pt x="524" y="42"/>
                </a:cubicBezTo>
                <a:cubicBezTo>
                  <a:pt x="554" y="59"/>
                  <a:pt x="582" y="80"/>
                  <a:pt x="616" y="90"/>
                </a:cubicBezTo>
                <a:cubicBezTo>
                  <a:pt x="622" y="91"/>
                  <a:pt x="625" y="94"/>
                  <a:pt x="621" y="101"/>
                </a:cubicBezTo>
                <a:cubicBezTo>
                  <a:pt x="615" y="111"/>
                  <a:pt x="615" y="123"/>
                  <a:pt x="614" y="135"/>
                </a:cubicBezTo>
                <a:cubicBezTo>
                  <a:pt x="613" y="148"/>
                  <a:pt x="613" y="160"/>
                  <a:pt x="618" y="172"/>
                </a:cubicBezTo>
                <a:cubicBezTo>
                  <a:pt x="621" y="181"/>
                  <a:pt x="613" y="187"/>
                  <a:pt x="609" y="194"/>
                </a:cubicBezTo>
                <a:cubicBezTo>
                  <a:pt x="601" y="214"/>
                  <a:pt x="600" y="214"/>
                  <a:pt x="618" y="223"/>
                </a:cubicBezTo>
                <a:cubicBezTo>
                  <a:pt x="626" y="228"/>
                  <a:pt x="629" y="231"/>
                  <a:pt x="626" y="240"/>
                </a:cubicBezTo>
                <a:cubicBezTo>
                  <a:pt x="624" y="248"/>
                  <a:pt x="627" y="254"/>
                  <a:pt x="636" y="256"/>
                </a:cubicBezTo>
                <a:cubicBezTo>
                  <a:pt x="640" y="257"/>
                  <a:pt x="642" y="259"/>
                  <a:pt x="640" y="263"/>
                </a:cubicBezTo>
                <a:cubicBezTo>
                  <a:pt x="634" y="276"/>
                  <a:pt x="644" y="283"/>
                  <a:pt x="651" y="288"/>
                </a:cubicBezTo>
                <a:cubicBezTo>
                  <a:pt x="666" y="298"/>
                  <a:pt x="681" y="309"/>
                  <a:pt x="701" y="308"/>
                </a:cubicBezTo>
                <a:cubicBezTo>
                  <a:pt x="704" y="308"/>
                  <a:pt x="707" y="309"/>
                  <a:pt x="709" y="310"/>
                </a:cubicBezTo>
                <a:cubicBezTo>
                  <a:pt x="735" y="326"/>
                  <a:pt x="764" y="334"/>
                  <a:pt x="792" y="345"/>
                </a:cubicBezTo>
                <a:cubicBezTo>
                  <a:pt x="796" y="347"/>
                  <a:pt x="799" y="349"/>
                  <a:pt x="803" y="349"/>
                </a:cubicBezTo>
                <a:cubicBezTo>
                  <a:pt x="821" y="348"/>
                  <a:pt x="836" y="357"/>
                  <a:pt x="852" y="364"/>
                </a:cubicBezTo>
                <a:cubicBezTo>
                  <a:pt x="861" y="368"/>
                  <a:pt x="868" y="375"/>
                  <a:pt x="878" y="377"/>
                </a:cubicBezTo>
                <a:cubicBezTo>
                  <a:pt x="889" y="380"/>
                  <a:pt x="892" y="393"/>
                  <a:pt x="899" y="400"/>
                </a:cubicBezTo>
                <a:cubicBezTo>
                  <a:pt x="901" y="402"/>
                  <a:pt x="899" y="404"/>
                  <a:pt x="898" y="406"/>
                </a:cubicBezTo>
                <a:cubicBezTo>
                  <a:pt x="896" y="412"/>
                  <a:pt x="894" y="419"/>
                  <a:pt x="888" y="422"/>
                </a:cubicBezTo>
                <a:cubicBezTo>
                  <a:pt x="884" y="425"/>
                  <a:pt x="882" y="429"/>
                  <a:pt x="879" y="433"/>
                </a:cubicBezTo>
                <a:cubicBezTo>
                  <a:pt x="877" y="437"/>
                  <a:pt x="880" y="445"/>
                  <a:pt x="873" y="447"/>
                </a:cubicBezTo>
                <a:cubicBezTo>
                  <a:pt x="867" y="449"/>
                  <a:pt x="859" y="451"/>
                  <a:pt x="852" y="450"/>
                </a:cubicBezTo>
                <a:cubicBezTo>
                  <a:pt x="847" y="450"/>
                  <a:pt x="842" y="445"/>
                  <a:pt x="838" y="450"/>
                </a:cubicBezTo>
                <a:cubicBezTo>
                  <a:pt x="833" y="456"/>
                  <a:pt x="828" y="462"/>
                  <a:pt x="831" y="470"/>
                </a:cubicBezTo>
                <a:cubicBezTo>
                  <a:pt x="833" y="475"/>
                  <a:pt x="831" y="478"/>
                  <a:pt x="830" y="481"/>
                </a:cubicBezTo>
                <a:cubicBezTo>
                  <a:pt x="824" y="500"/>
                  <a:pt x="817" y="505"/>
                  <a:pt x="796" y="504"/>
                </a:cubicBezTo>
                <a:cubicBezTo>
                  <a:pt x="782" y="503"/>
                  <a:pt x="779" y="504"/>
                  <a:pt x="778" y="517"/>
                </a:cubicBezTo>
                <a:cubicBezTo>
                  <a:pt x="778" y="529"/>
                  <a:pt x="771" y="540"/>
                  <a:pt x="774" y="552"/>
                </a:cubicBezTo>
                <a:cubicBezTo>
                  <a:pt x="776" y="561"/>
                  <a:pt x="777" y="569"/>
                  <a:pt x="779" y="578"/>
                </a:cubicBezTo>
                <a:cubicBezTo>
                  <a:pt x="780" y="586"/>
                  <a:pt x="778" y="588"/>
                  <a:pt x="772" y="586"/>
                </a:cubicBezTo>
                <a:cubicBezTo>
                  <a:pt x="764" y="584"/>
                  <a:pt x="759" y="583"/>
                  <a:pt x="752" y="589"/>
                </a:cubicBezTo>
                <a:cubicBezTo>
                  <a:pt x="745" y="596"/>
                  <a:pt x="740" y="601"/>
                  <a:pt x="742" y="611"/>
                </a:cubicBezTo>
                <a:cubicBezTo>
                  <a:pt x="743" y="619"/>
                  <a:pt x="740" y="625"/>
                  <a:pt x="734" y="630"/>
                </a:cubicBezTo>
                <a:cubicBezTo>
                  <a:pt x="728" y="636"/>
                  <a:pt x="722" y="638"/>
                  <a:pt x="716" y="634"/>
                </a:cubicBezTo>
                <a:cubicBezTo>
                  <a:pt x="706" y="629"/>
                  <a:pt x="696" y="629"/>
                  <a:pt x="685" y="627"/>
                </a:cubicBezTo>
                <a:cubicBezTo>
                  <a:pt x="671" y="625"/>
                  <a:pt x="658" y="617"/>
                  <a:pt x="649" y="605"/>
                </a:cubicBezTo>
                <a:cubicBezTo>
                  <a:pt x="640" y="595"/>
                  <a:pt x="630" y="591"/>
                  <a:pt x="617" y="591"/>
                </a:cubicBezTo>
                <a:cubicBezTo>
                  <a:pt x="605" y="592"/>
                  <a:pt x="592" y="593"/>
                  <a:pt x="580" y="589"/>
                </a:cubicBezTo>
                <a:cubicBezTo>
                  <a:pt x="573" y="587"/>
                  <a:pt x="568" y="593"/>
                  <a:pt x="562" y="597"/>
                </a:cubicBezTo>
                <a:cubicBezTo>
                  <a:pt x="552" y="605"/>
                  <a:pt x="534" y="606"/>
                  <a:pt x="523" y="599"/>
                </a:cubicBezTo>
                <a:cubicBezTo>
                  <a:pt x="513" y="593"/>
                  <a:pt x="504" y="588"/>
                  <a:pt x="493" y="594"/>
                </a:cubicBezTo>
                <a:cubicBezTo>
                  <a:pt x="487" y="597"/>
                  <a:pt x="483" y="594"/>
                  <a:pt x="479" y="591"/>
                </a:cubicBezTo>
                <a:cubicBezTo>
                  <a:pt x="477" y="589"/>
                  <a:pt x="475" y="587"/>
                  <a:pt x="473" y="585"/>
                </a:cubicBezTo>
                <a:cubicBezTo>
                  <a:pt x="466" y="578"/>
                  <a:pt x="458" y="575"/>
                  <a:pt x="448" y="579"/>
                </a:cubicBezTo>
                <a:cubicBezTo>
                  <a:pt x="432" y="586"/>
                  <a:pt x="420" y="582"/>
                  <a:pt x="409" y="569"/>
                </a:cubicBezTo>
                <a:cubicBezTo>
                  <a:pt x="400" y="559"/>
                  <a:pt x="388" y="553"/>
                  <a:pt x="375" y="552"/>
                </a:cubicBezTo>
                <a:cubicBezTo>
                  <a:pt x="367" y="551"/>
                  <a:pt x="359" y="548"/>
                  <a:pt x="352" y="544"/>
                </a:cubicBezTo>
                <a:cubicBezTo>
                  <a:pt x="344" y="540"/>
                  <a:pt x="338" y="542"/>
                  <a:pt x="332" y="547"/>
                </a:cubicBezTo>
                <a:cubicBezTo>
                  <a:pt x="326" y="553"/>
                  <a:pt x="322" y="560"/>
                  <a:pt x="322" y="568"/>
                </a:cubicBezTo>
                <a:cubicBezTo>
                  <a:pt x="321" y="572"/>
                  <a:pt x="322" y="576"/>
                  <a:pt x="322" y="580"/>
                </a:cubicBezTo>
                <a:cubicBezTo>
                  <a:pt x="322" y="585"/>
                  <a:pt x="321" y="590"/>
                  <a:pt x="315" y="591"/>
                </a:cubicBezTo>
                <a:cubicBezTo>
                  <a:pt x="311" y="592"/>
                  <a:pt x="305" y="593"/>
                  <a:pt x="303" y="588"/>
                </a:cubicBezTo>
                <a:cubicBezTo>
                  <a:pt x="297" y="578"/>
                  <a:pt x="289" y="579"/>
                  <a:pt x="281" y="584"/>
                </a:cubicBezTo>
                <a:cubicBezTo>
                  <a:pt x="275" y="588"/>
                  <a:pt x="269" y="588"/>
                  <a:pt x="262" y="586"/>
                </a:cubicBezTo>
                <a:cubicBezTo>
                  <a:pt x="254" y="583"/>
                  <a:pt x="246" y="582"/>
                  <a:pt x="239" y="579"/>
                </a:cubicBezTo>
                <a:cubicBezTo>
                  <a:pt x="231" y="576"/>
                  <a:pt x="224" y="576"/>
                  <a:pt x="216" y="580"/>
                </a:cubicBezTo>
                <a:cubicBezTo>
                  <a:pt x="204" y="587"/>
                  <a:pt x="197" y="584"/>
                  <a:pt x="187" y="573"/>
                </a:cubicBezTo>
                <a:cubicBezTo>
                  <a:pt x="177" y="562"/>
                  <a:pt x="177" y="562"/>
                  <a:pt x="164" y="569"/>
                </a:cubicBezTo>
                <a:cubicBezTo>
                  <a:pt x="159" y="572"/>
                  <a:pt x="154" y="576"/>
                  <a:pt x="149" y="578"/>
                </a:cubicBezTo>
                <a:cubicBezTo>
                  <a:pt x="138" y="581"/>
                  <a:pt x="127" y="584"/>
                  <a:pt x="116" y="579"/>
                </a:cubicBezTo>
                <a:cubicBezTo>
                  <a:pt x="107" y="575"/>
                  <a:pt x="99" y="569"/>
                  <a:pt x="89" y="578"/>
                </a:cubicBezTo>
                <a:cubicBezTo>
                  <a:pt x="85" y="581"/>
                  <a:pt x="82" y="576"/>
                  <a:pt x="79" y="575"/>
                </a:cubicBezTo>
                <a:cubicBezTo>
                  <a:pt x="71" y="570"/>
                  <a:pt x="64" y="566"/>
                  <a:pt x="53" y="567"/>
                </a:cubicBezTo>
                <a:cubicBezTo>
                  <a:pt x="40" y="567"/>
                  <a:pt x="30" y="572"/>
                  <a:pt x="22" y="581"/>
                </a:cubicBezTo>
                <a:cubicBezTo>
                  <a:pt x="20" y="583"/>
                  <a:pt x="18" y="585"/>
                  <a:pt x="16" y="587"/>
                </a:cubicBezTo>
                <a:cubicBezTo>
                  <a:pt x="13" y="590"/>
                  <a:pt x="8" y="595"/>
                  <a:pt x="4" y="592"/>
                </a:cubicBezTo>
                <a:cubicBezTo>
                  <a:pt x="0" y="589"/>
                  <a:pt x="4" y="582"/>
                  <a:pt x="6" y="577"/>
                </a:cubicBezTo>
                <a:cubicBezTo>
                  <a:pt x="9" y="571"/>
                  <a:pt x="13" y="566"/>
                  <a:pt x="18" y="562"/>
                </a:cubicBezTo>
                <a:cubicBezTo>
                  <a:pt x="34" y="548"/>
                  <a:pt x="51" y="535"/>
                  <a:pt x="72" y="530"/>
                </a:cubicBezTo>
                <a:cubicBezTo>
                  <a:pt x="80" y="527"/>
                  <a:pt x="86" y="523"/>
                  <a:pt x="92" y="517"/>
                </a:cubicBezTo>
                <a:cubicBezTo>
                  <a:pt x="110" y="498"/>
                  <a:pt x="132" y="483"/>
                  <a:pt x="155" y="470"/>
                </a:cubicBezTo>
                <a:cubicBezTo>
                  <a:pt x="171" y="461"/>
                  <a:pt x="186" y="452"/>
                  <a:pt x="202" y="444"/>
                </a:cubicBezTo>
                <a:cubicBezTo>
                  <a:pt x="211" y="439"/>
                  <a:pt x="220" y="432"/>
                  <a:pt x="227" y="425"/>
                </a:cubicBezTo>
                <a:cubicBezTo>
                  <a:pt x="245" y="404"/>
                  <a:pt x="265" y="385"/>
                  <a:pt x="272" y="358"/>
                </a:cubicBezTo>
                <a:cubicBezTo>
                  <a:pt x="277" y="336"/>
                  <a:pt x="290" y="320"/>
                  <a:pt x="307" y="306"/>
                </a:cubicBezTo>
                <a:cubicBezTo>
                  <a:pt x="315" y="301"/>
                  <a:pt x="320" y="295"/>
                  <a:pt x="322" y="286"/>
                </a:cubicBezTo>
                <a:cubicBezTo>
                  <a:pt x="325" y="274"/>
                  <a:pt x="332" y="266"/>
                  <a:pt x="342" y="260"/>
                </a:cubicBezTo>
                <a:cubicBezTo>
                  <a:pt x="352" y="254"/>
                  <a:pt x="362" y="246"/>
                  <a:pt x="366" y="234"/>
                </a:cubicBezTo>
                <a:cubicBezTo>
                  <a:pt x="370" y="220"/>
                  <a:pt x="367" y="207"/>
                  <a:pt x="357" y="197"/>
                </a:cubicBezTo>
                <a:cubicBezTo>
                  <a:pt x="350" y="190"/>
                  <a:pt x="353" y="184"/>
                  <a:pt x="356" y="178"/>
                </a:cubicBezTo>
                <a:cubicBezTo>
                  <a:pt x="359" y="171"/>
                  <a:pt x="366" y="171"/>
                  <a:pt x="371" y="173"/>
                </a:cubicBezTo>
                <a:cubicBezTo>
                  <a:pt x="379" y="176"/>
                  <a:pt x="386" y="174"/>
                  <a:pt x="391" y="169"/>
                </a:cubicBezTo>
                <a:cubicBezTo>
                  <a:pt x="401" y="160"/>
                  <a:pt x="410" y="149"/>
                  <a:pt x="413" y="136"/>
                </a:cubicBezTo>
                <a:cubicBezTo>
                  <a:pt x="415" y="128"/>
                  <a:pt x="418" y="121"/>
                  <a:pt x="423" y="115"/>
                </a:cubicBezTo>
                <a:cubicBezTo>
                  <a:pt x="433" y="105"/>
                  <a:pt x="436" y="94"/>
                  <a:pt x="435" y="83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7" name="Freeform 10">
            <a:extLst>
              <a:ext uri="{FF2B5EF4-FFF2-40B4-BE49-F238E27FC236}">
                <a16:creationId xmlns:a16="http://schemas.microsoft.com/office/drawing/2014/main" id="{F0D795E2-61D8-4481-B15E-E5201AA5107C}"/>
              </a:ext>
            </a:extLst>
          </p:cNvPr>
          <p:cNvSpPr>
            <a:spLocks/>
          </p:cNvSpPr>
          <p:nvPr/>
        </p:nvSpPr>
        <p:spPr bwMode="auto">
          <a:xfrm>
            <a:off x="3787907" y="2616916"/>
            <a:ext cx="1683830" cy="1746036"/>
          </a:xfrm>
          <a:custGeom>
            <a:avLst/>
            <a:gdLst>
              <a:gd name="T0" fmla="*/ 624 w 706"/>
              <a:gd name="T1" fmla="*/ 664 h 721"/>
              <a:gd name="T2" fmla="*/ 614 w 706"/>
              <a:gd name="T3" fmla="*/ 679 h 721"/>
              <a:gd name="T4" fmla="*/ 612 w 706"/>
              <a:gd name="T5" fmla="*/ 715 h 721"/>
              <a:gd name="T6" fmla="*/ 576 w 706"/>
              <a:gd name="T7" fmla="*/ 681 h 721"/>
              <a:gd name="T8" fmla="*/ 556 w 706"/>
              <a:gd name="T9" fmla="*/ 654 h 721"/>
              <a:gd name="T10" fmla="*/ 517 w 706"/>
              <a:gd name="T11" fmla="*/ 642 h 721"/>
              <a:gd name="T12" fmla="*/ 495 w 706"/>
              <a:gd name="T13" fmla="*/ 612 h 721"/>
              <a:gd name="T14" fmla="*/ 466 w 706"/>
              <a:gd name="T15" fmla="*/ 583 h 721"/>
              <a:gd name="T16" fmla="*/ 386 w 706"/>
              <a:gd name="T17" fmla="*/ 596 h 721"/>
              <a:gd name="T18" fmla="*/ 347 w 706"/>
              <a:gd name="T19" fmla="*/ 589 h 721"/>
              <a:gd name="T20" fmla="*/ 281 w 706"/>
              <a:gd name="T21" fmla="*/ 586 h 721"/>
              <a:gd name="T22" fmla="*/ 244 w 706"/>
              <a:gd name="T23" fmla="*/ 583 h 721"/>
              <a:gd name="T24" fmla="*/ 209 w 706"/>
              <a:gd name="T25" fmla="*/ 601 h 721"/>
              <a:gd name="T26" fmla="*/ 193 w 706"/>
              <a:gd name="T27" fmla="*/ 595 h 721"/>
              <a:gd name="T28" fmla="*/ 143 w 706"/>
              <a:gd name="T29" fmla="*/ 541 h 721"/>
              <a:gd name="T30" fmla="*/ 137 w 706"/>
              <a:gd name="T31" fmla="*/ 517 h 721"/>
              <a:gd name="T32" fmla="*/ 179 w 706"/>
              <a:gd name="T33" fmla="*/ 483 h 721"/>
              <a:gd name="T34" fmla="*/ 176 w 706"/>
              <a:gd name="T35" fmla="*/ 424 h 721"/>
              <a:gd name="T36" fmla="*/ 214 w 706"/>
              <a:gd name="T37" fmla="*/ 409 h 721"/>
              <a:gd name="T38" fmla="*/ 241 w 706"/>
              <a:gd name="T39" fmla="*/ 364 h 721"/>
              <a:gd name="T40" fmla="*/ 275 w 706"/>
              <a:gd name="T41" fmla="*/ 349 h 721"/>
              <a:gd name="T42" fmla="*/ 288 w 706"/>
              <a:gd name="T43" fmla="*/ 325 h 721"/>
              <a:gd name="T44" fmla="*/ 260 w 706"/>
              <a:gd name="T45" fmla="*/ 265 h 721"/>
              <a:gd name="T46" fmla="*/ 197 w 706"/>
              <a:gd name="T47" fmla="*/ 242 h 721"/>
              <a:gd name="T48" fmla="*/ 150 w 706"/>
              <a:gd name="T49" fmla="*/ 226 h 721"/>
              <a:gd name="T50" fmla="*/ 128 w 706"/>
              <a:gd name="T51" fmla="*/ 215 h 721"/>
              <a:gd name="T52" fmla="*/ 40 w 706"/>
              <a:gd name="T53" fmla="*/ 176 h 721"/>
              <a:gd name="T54" fmla="*/ 29 w 706"/>
              <a:gd name="T55" fmla="*/ 149 h 721"/>
              <a:gd name="T56" fmla="*/ 27 w 706"/>
              <a:gd name="T57" fmla="*/ 137 h 721"/>
              <a:gd name="T58" fmla="*/ 1 w 706"/>
              <a:gd name="T59" fmla="*/ 109 h 721"/>
              <a:gd name="T60" fmla="*/ 16 w 706"/>
              <a:gd name="T61" fmla="*/ 73 h 721"/>
              <a:gd name="T62" fmla="*/ 37 w 706"/>
              <a:gd name="T63" fmla="*/ 9 h 721"/>
              <a:gd name="T64" fmla="*/ 105 w 706"/>
              <a:gd name="T65" fmla="*/ 34 h 721"/>
              <a:gd name="T66" fmla="*/ 147 w 706"/>
              <a:gd name="T67" fmla="*/ 51 h 721"/>
              <a:gd name="T68" fmla="*/ 187 w 706"/>
              <a:gd name="T69" fmla="*/ 86 h 721"/>
              <a:gd name="T70" fmla="*/ 237 w 706"/>
              <a:gd name="T71" fmla="*/ 117 h 721"/>
              <a:gd name="T72" fmla="*/ 301 w 706"/>
              <a:gd name="T73" fmla="*/ 137 h 721"/>
              <a:gd name="T74" fmla="*/ 343 w 706"/>
              <a:gd name="T75" fmla="*/ 142 h 721"/>
              <a:gd name="T76" fmla="*/ 382 w 706"/>
              <a:gd name="T77" fmla="*/ 154 h 721"/>
              <a:gd name="T78" fmla="*/ 452 w 706"/>
              <a:gd name="T79" fmla="*/ 212 h 721"/>
              <a:gd name="T80" fmla="*/ 508 w 706"/>
              <a:gd name="T81" fmla="*/ 188 h 721"/>
              <a:gd name="T82" fmla="*/ 528 w 706"/>
              <a:gd name="T83" fmla="*/ 163 h 721"/>
              <a:gd name="T84" fmla="*/ 531 w 706"/>
              <a:gd name="T85" fmla="*/ 185 h 721"/>
              <a:gd name="T86" fmla="*/ 554 w 706"/>
              <a:gd name="T87" fmla="*/ 222 h 721"/>
              <a:gd name="T88" fmla="*/ 578 w 706"/>
              <a:gd name="T89" fmla="*/ 205 h 721"/>
              <a:gd name="T90" fmla="*/ 608 w 706"/>
              <a:gd name="T91" fmla="*/ 195 h 721"/>
              <a:gd name="T92" fmla="*/ 648 w 706"/>
              <a:gd name="T93" fmla="*/ 176 h 721"/>
              <a:gd name="T94" fmla="*/ 665 w 706"/>
              <a:gd name="T95" fmla="*/ 173 h 721"/>
              <a:gd name="T96" fmla="*/ 653 w 706"/>
              <a:gd name="T97" fmla="*/ 195 h 721"/>
              <a:gd name="T98" fmla="*/ 613 w 706"/>
              <a:gd name="T99" fmla="*/ 230 h 721"/>
              <a:gd name="T100" fmla="*/ 573 w 706"/>
              <a:gd name="T101" fmla="*/ 266 h 721"/>
              <a:gd name="T102" fmla="*/ 602 w 706"/>
              <a:gd name="T103" fmla="*/ 293 h 721"/>
              <a:gd name="T104" fmla="*/ 653 w 706"/>
              <a:gd name="T105" fmla="*/ 343 h 721"/>
              <a:gd name="T106" fmla="*/ 646 w 706"/>
              <a:gd name="T107" fmla="*/ 372 h 721"/>
              <a:gd name="T108" fmla="*/ 612 w 706"/>
              <a:gd name="T109" fmla="*/ 387 h 721"/>
              <a:gd name="T110" fmla="*/ 600 w 706"/>
              <a:gd name="T111" fmla="*/ 446 h 721"/>
              <a:gd name="T112" fmla="*/ 631 w 706"/>
              <a:gd name="T113" fmla="*/ 454 h 721"/>
              <a:gd name="T114" fmla="*/ 653 w 706"/>
              <a:gd name="T115" fmla="*/ 463 h 721"/>
              <a:gd name="T116" fmla="*/ 681 w 706"/>
              <a:gd name="T117" fmla="*/ 507 h 721"/>
              <a:gd name="T118" fmla="*/ 678 w 706"/>
              <a:gd name="T119" fmla="*/ 551 h 721"/>
              <a:gd name="T120" fmla="*/ 706 w 706"/>
              <a:gd name="T121" fmla="*/ 589 h 721"/>
              <a:gd name="T122" fmla="*/ 675 w 706"/>
              <a:gd name="T123" fmla="*/ 628 h 721"/>
              <a:gd name="T124" fmla="*/ 655 w 706"/>
              <a:gd name="T125" fmla="*/ 650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06" h="721">
                <a:moveTo>
                  <a:pt x="633" y="666"/>
                </a:moveTo>
                <a:cubicBezTo>
                  <a:pt x="632" y="666"/>
                  <a:pt x="628" y="665"/>
                  <a:pt x="624" y="664"/>
                </a:cubicBezTo>
                <a:cubicBezTo>
                  <a:pt x="618" y="662"/>
                  <a:pt x="616" y="667"/>
                  <a:pt x="613" y="670"/>
                </a:cubicBezTo>
                <a:cubicBezTo>
                  <a:pt x="610" y="673"/>
                  <a:pt x="612" y="676"/>
                  <a:pt x="614" y="679"/>
                </a:cubicBezTo>
                <a:cubicBezTo>
                  <a:pt x="616" y="682"/>
                  <a:pt x="618" y="685"/>
                  <a:pt x="619" y="687"/>
                </a:cubicBezTo>
                <a:cubicBezTo>
                  <a:pt x="626" y="701"/>
                  <a:pt x="625" y="706"/>
                  <a:pt x="612" y="715"/>
                </a:cubicBezTo>
                <a:cubicBezTo>
                  <a:pt x="602" y="721"/>
                  <a:pt x="594" y="718"/>
                  <a:pt x="591" y="707"/>
                </a:cubicBezTo>
                <a:cubicBezTo>
                  <a:pt x="589" y="696"/>
                  <a:pt x="584" y="688"/>
                  <a:pt x="576" y="681"/>
                </a:cubicBezTo>
                <a:cubicBezTo>
                  <a:pt x="570" y="675"/>
                  <a:pt x="561" y="671"/>
                  <a:pt x="563" y="659"/>
                </a:cubicBezTo>
                <a:cubicBezTo>
                  <a:pt x="563" y="656"/>
                  <a:pt x="559" y="654"/>
                  <a:pt x="556" y="654"/>
                </a:cubicBezTo>
                <a:cubicBezTo>
                  <a:pt x="544" y="655"/>
                  <a:pt x="533" y="652"/>
                  <a:pt x="525" y="643"/>
                </a:cubicBezTo>
                <a:cubicBezTo>
                  <a:pt x="523" y="642"/>
                  <a:pt x="520" y="642"/>
                  <a:pt x="517" y="642"/>
                </a:cubicBezTo>
                <a:cubicBezTo>
                  <a:pt x="508" y="640"/>
                  <a:pt x="501" y="636"/>
                  <a:pt x="503" y="624"/>
                </a:cubicBezTo>
                <a:cubicBezTo>
                  <a:pt x="504" y="618"/>
                  <a:pt x="501" y="614"/>
                  <a:pt x="495" y="612"/>
                </a:cubicBezTo>
                <a:cubicBezTo>
                  <a:pt x="487" y="607"/>
                  <a:pt x="483" y="601"/>
                  <a:pt x="480" y="592"/>
                </a:cubicBezTo>
                <a:cubicBezTo>
                  <a:pt x="478" y="585"/>
                  <a:pt x="474" y="584"/>
                  <a:pt x="466" y="583"/>
                </a:cubicBezTo>
                <a:cubicBezTo>
                  <a:pt x="452" y="581"/>
                  <a:pt x="441" y="584"/>
                  <a:pt x="430" y="589"/>
                </a:cubicBezTo>
                <a:cubicBezTo>
                  <a:pt x="416" y="594"/>
                  <a:pt x="400" y="590"/>
                  <a:pt x="386" y="596"/>
                </a:cubicBezTo>
                <a:cubicBezTo>
                  <a:pt x="377" y="588"/>
                  <a:pt x="367" y="590"/>
                  <a:pt x="356" y="592"/>
                </a:cubicBezTo>
                <a:cubicBezTo>
                  <a:pt x="354" y="593"/>
                  <a:pt x="349" y="591"/>
                  <a:pt x="347" y="589"/>
                </a:cubicBezTo>
                <a:cubicBezTo>
                  <a:pt x="336" y="580"/>
                  <a:pt x="326" y="580"/>
                  <a:pt x="314" y="589"/>
                </a:cubicBezTo>
                <a:cubicBezTo>
                  <a:pt x="305" y="595"/>
                  <a:pt x="291" y="597"/>
                  <a:pt x="281" y="586"/>
                </a:cubicBezTo>
                <a:cubicBezTo>
                  <a:pt x="280" y="586"/>
                  <a:pt x="279" y="585"/>
                  <a:pt x="278" y="584"/>
                </a:cubicBezTo>
                <a:cubicBezTo>
                  <a:pt x="267" y="575"/>
                  <a:pt x="256" y="590"/>
                  <a:pt x="244" y="583"/>
                </a:cubicBezTo>
                <a:cubicBezTo>
                  <a:pt x="231" y="576"/>
                  <a:pt x="223" y="586"/>
                  <a:pt x="216" y="596"/>
                </a:cubicBezTo>
                <a:cubicBezTo>
                  <a:pt x="214" y="599"/>
                  <a:pt x="213" y="602"/>
                  <a:pt x="209" y="601"/>
                </a:cubicBezTo>
                <a:cubicBezTo>
                  <a:pt x="204" y="600"/>
                  <a:pt x="199" y="598"/>
                  <a:pt x="194" y="596"/>
                </a:cubicBezTo>
                <a:cubicBezTo>
                  <a:pt x="194" y="596"/>
                  <a:pt x="193" y="595"/>
                  <a:pt x="193" y="595"/>
                </a:cubicBezTo>
                <a:cubicBezTo>
                  <a:pt x="197" y="577"/>
                  <a:pt x="181" y="570"/>
                  <a:pt x="174" y="558"/>
                </a:cubicBezTo>
                <a:cubicBezTo>
                  <a:pt x="167" y="546"/>
                  <a:pt x="157" y="540"/>
                  <a:pt x="143" y="541"/>
                </a:cubicBezTo>
                <a:cubicBezTo>
                  <a:pt x="136" y="542"/>
                  <a:pt x="131" y="540"/>
                  <a:pt x="135" y="531"/>
                </a:cubicBezTo>
                <a:cubicBezTo>
                  <a:pt x="137" y="527"/>
                  <a:pt x="135" y="522"/>
                  <a:pt x="137" y="517"/>
                </a:cubicBezTo>
                <a:cubicBezTo>
                  <a:pt x="144" y="499"/>
                  <a:pt x="144" y="499"/>
                  <a:pt x="164" y="498"/>
                </a:cubicBezTo>
                <a:cubicBezTo>
                  <a:pt x="177" y="498"/>
                  <a:pt x="179" y="496"/>
                  <a:pt x="179" y="483"/>
                </a:cubicBezTo>
                <a:cubicBezTo>
                  <a:pt x="179" y="478"/>
                  <a:pt x="179" y="472"/>
                  <a:pt x="177" y="466"/>
                </a:cubicBezTo>
                <a:cubicBezTo>
                  <a:pt x="172" y="452"/>
                  <a:pt x="175" y="438"/>
                  <a:pt x="176" y="424"/>
                </a:cubicBezTo>
                <a:cubicBezTo>
                  <a:pt x="176" y="419"/>
                  <a:pt x="180" y="418"/>
                  <a:pt x="184" y="418"/>
                </a:cubicBezTo>
                <a:cubicBezTo>
                  <a:pt x="196" y="420"/>
                  <a:pt x="205" y="415"/>
                  <a:pt x="214" y="409"/>
                </a:cubicBezTo>
                <a:cubicBezTo>
                  <a:pt x="226" y="400"/>
                  <a:pt x="233" y="389"/>
                  <a:pt x="231" y="373"/>
                </a:cubicBezTo>
                <a:cubicBezTo>
                  <a:pt x="231" y="367"/>
                  <a:pt x="231" y="362"/>
                  <a:pt x="241" y="364"/>
                </a:cubicBezTo>
                <a:cubicBezTo>
                  <a:pt x="248" y="365"/>
                  <a:pt x="254" y="358"/>
                  <a:pt x="263" y="361"/>
                </a:cubicBezTo>
                <a:cubicBezTo>
                  <a:pt x="269" y="363"/>
                  <a:pt x="276" y="357"/>
                  <a:pt x="275" y="349"/>
                </a:cubicBezTo>
                <a:cubicBezTo>
                  <a:pt x="275" y="340"/>
                  <a:pt x="277" y="333"/>
                  <a:pt x="285" y="329"/>
                </a:cubicBezTo>
                <a:cubicBezTo>
                  <a:pt x="286" y="328"/>
                  <a:pt x="287" y="326"/>
                  <a:pt x="288" y="325"/>
                </a:cubicBezTo>
                <a:cubicBezTo>
                  <a:pt x="300" y="310"/>
                  <a:pt x="300" y="299"/>
                  <a:pt x="287" y="284"/>
                </a:cubicBezTo>
                <a:cubicBezTo>
                  <a:pt x="280" y="276"/>
                  <a:pt x="271" y="269"/>
                  <a:pt x="260" y="265"/>
                </a:cubicBezTo>
                <a:cubicBezTo>
                  <a:pt x="249" y="262"/>
                  <a:pt x="239" y="256"/>
                  <a:pt x="229" y="251"/>
                </a:cubicBezTo>
                <a:cubicBezTo>
                  <a:pt x="219" y="246"/>
                  <a:pt x="209" y="242"/>
                  <a:pt x="197" y="242"/>
                </a:cubicBezTo>
                <a:cubicBezTo>
                  <a:pt x="189" y="242"/>
                  <a:pt x="182" y="238"/>
                  <a:pt x="174" y="235"/>
                </a:cubicBezTo>
                <a:cubicBezTo>
                  <a:pt x="166" y="232"/>
                  <a:pt x="158" y="228"/>
                  <a:pt x="150" y="226"/>
                </a:cubicBezTo>
                <a:cubicBezTo>
                  <a:pt x="143" y="225"/>
                  <a:pt x="137" y="223"/>
                  <a:pt x="133" y="218"/>
                </a:cubicBezTo>
                <a:cubicBezTo>
                  <a:pt x="131" y="216"/>
                  <a:pt x="129" y="215"/>
                  <a:pt x="128" y="215"/>
                </a:cubicBezTo>
                <a:cubicBezTo>
                  <a:pt x="110" y="213"/>
                  <a:pt x="96" y="201"/>
                  <a:pt x="78" y="197"/>
                </a:cubicBezTo>
                <a:cubicBezTo>
                  <a:pt x="64" y="194"/>
                  <a:pt x="53" y="184"/>
                  <a:pt x="40" y="176"/>
                </a:cubicBezTo>
                <a:cubicBezTo>
                  <a:pt x="35" y="174"/>
                  <a:pt x="38" y="170"/>
                  <a:pt x="39" y="166"/>
                </a:cubicBezTo>
                <a:cubicBezTo>
                  <a:pt x="44" y="152"/>
                  <a:pt x="43" y="152"/>
                  <a:pt x="29" y="149"/>
                </a:cubicBezTo>
                <a:cubicBezTo>
                  <a:pt x="24" y="148"/>
                  <a:pt x="23" y="146"/>
                  <a:pt x="24" y="142"/>
                </a:cubicBezTo>
                <a:cubicBezTo>
                  <a:pt x="24" y="140"/>
                  <a:pt x="26" y="139"/>
                  <a:pt x="27" y="137"/>
                </a:cubicBezTo>
                <a:cubicBezTo>
                  <a:pt x="31" y="127"/>
                  <a:pt x="29" y="122"/>
                  <a:pt x="20" y="119"/>
                </a:cubicBezTo>
                <a:cubicBezTo>
                  <a:pt x="13" y="116"/>
                  <a:pt x="2" y="119"/>
                  <a:pt x="1" y="109"/>
                </a:cubicBezTo>
                <a:cubicBezTo>
                  <a:pt x="0" y="104"/>
                  <a:pt x="8" y="97"/>
                  <a:pt x="12" y="91"/>
                </a:cubicBezTo>
                <a:cubicBezTo>
                  <a:pt x="16" y="86"/>
                  <a:pt x="17" y="80"/>
                  <a:pt x="16" y="73"/>
                </a:cubicBezTo>
                <a:cubicBezTo>
                  <a:pt x="13" y="55"/>
                  <a:pt x="15" y="38"/>
                  <a:pt x="15" y="20"/>
                </a:cubicBezTo>
                <a:cubicBezTo>
                  <a:pt x="16" y="7"/>
                  <a:pt x="28" y="0"/>
                  <a:pt x="37" y="9"/>
                </a:cubicBezTo>
                <a:cubicBezTo>
                  <a:pt x="50" y="22"/>
                  <a:pt x="64" y="23"/>
                  <a:pt x="81" y="22"/>
                </a:cubicBezTo>
                <a:cubicBezTo>
                  <a:pt x="91" y="22"/>
                  <a:pt x="98" y="28"/>
                  <a:pt x="105" y="34"/>
                </a:cubicBezTo>
                <a:cubicBezTo>
                  <a:pt x="110" y="39"/>
                  <a:pt x="113" y="42"/>
                  <a:pt x="122" y="40"/>
                </a:cubicBezTo>
                <a:cubicBezTo>
                  <a:pt x="131" y="38"/>
                  <a:pt x="141" y="41"/>
                  <a:pt x="147" y="51"/>
                </a:cubicBezTo>
                <a:cubicBezTo>
                  <a:pt x="155" y="61"/>
                  <a:pt x="161" y="73"/>
                  <a:pt x="173" y="81"/>
                </a:cubicBezTo>
                <a:cubicBezTo>
                  <a:pt x="178" y="84"/>
                  <a:pt x="182" y="86"/>
                  <a:pt x="187" y="86"/>
                </a:cubicBezTo>
                <a:cubicBezTo>
                  <a:pt x="207" y="87"/>
                  <a:pt x="223" y="95"/>
                  <a:pt x="234" y="112"/>
                </a:cubicBezTo>
                <a:cubicBezTo>
                  <a:pt x="235" y="114"/>
                  <a:pt x="236" y="116"/>
                  <a:pt x="237" y="117"/>
                </a:cubicBezTo>
                <a:cubicBezTo>
                  <a:pt x="253" y="120"/>
                  <a:pt x="262" y="136"/>
                  <a:pt x="279" y="139"/>
                </a:cubicBezTo>
                <a:cubicBezTo>
                  <a:pt x="287" y="140"/>
                  <a:pt x="294" y="143"/>
                  <a:pt x="301" y="137"/>
                </a:cubicBezTo>
                <a:cubicBezTo>
                  <a:pt x="307" y="132"/>
                  <a:pt x="313" y="134"/>
                  <a:pt x="318" y="138"/>
                </a:cubicBezTo>
                <a:cubicBezTo>
                  <a:pt x="326" y="145"/>
                  <a:pt x="334" y="146"/>
                  <a:pt x="343" y="142"/>
                </a:cubicBezTo>
                <a:cubicBezTo>
                  <a:pt x="357" y="136"/>
                  <a:pt x="368" y="140"/>
                  <a:pt x="377" y="150"/>
                </a:cubicBezTo>
                <a:cubicBezTo>
                  <a:pt x="378" y="152"/>
                  <a:pt x="380" y="153"/>
                  <a:pt x="382" y="154"/>
                </a:cubicBezTo>
                <a:cubicBezTo>
                  <a:pt x="410" y="163"/>
                  <a:pt x="426" y="188"/>
                  <a:pt x="447" y="207"/>
                </a:cubicBezTo>
                <a:cubicBezTo>
                  <a:pt x="449" y="208"/>
                  <a:pt x="450" y="211"/>
                  <a:pt x="452" y="212"/>
                </a:cubicBezTo>
                <a:cubicBezTo>
                  <a:pt x="469" y="227"/>
                  <a:pt x="477" y="227"/>
                  <a:pt x="489" y="208"/>
                </a:cubicBezTo>
                <a:cubicBezTo>
                  <a:pt x="495" y="201"/>
                  <a:pt x="503" y="196"/>
                  <a:pt x="508" y="188"/>
                </a:cubicBezTo>
                <a:cubicBezTo>
                  <a:pt x="512" y="182"/>
                  <a:pt x="520" y="177"/>
                  <a:pt x="520" y="168"/>
                </a:cubicBezTo>
                <a:cubicBezTo>
                  <a:pt x="521" y="165"/>
                  <a:pt x="524" y="162"/>
                  <a:pt x="528" y="163"/>
                </a:cubicBezTo>
                <a:cubicBezTo>
                  <a:pt x="531" y="164"/>
                  <a:pt x="534" y="166"/>
                  <a:pt x="534" y="170"/>
                </a:cubicBezTo>
                <a:cubicBezTo>
                  <a:pt x="536" y="175"/>
                  <a:pt x="534" y="180"/>
                  <a:pt x="531" y="185"/>
                </a:cubicBezTo>
                <a:cubicBezTo>
                  <a:pt x="528" y="192"/>
                  <a:pt x="525" y="198"/>
                  <a:pt x="531" y="205"/>
                </a:cubicBezTo>
                <a:cubicBezTo>
                  <a:pt x="537" y="213"/>
                  <a:pt x="544" y="220"/>
                  <a:pt x="554" y="222"/>
                </a:cubicBezTo>
                <a:cubicBezTo>
                  <a:pt x="558" y="223"/>
                  <a:pt x="562" y="221"/>
                  <a:pt x="565" y="218"/>
                </a:cubicBezTo>
                <a:cubicBezTo>
                  <a:pt x="569" y="214"/>
                  <a:pt x="573" y="210"/>
                  <a:pt x="578" y="205"/>
                </a:cubicBezTo>
                <a:cubicBezTo>
                  <a:pt x="583" y="199"/>
                  <a:pt x="589" y="192"/>
                  <a:pt x="599" y="198"/>
                </a:cubicBezTo>
                <a:cubicBezTo>
                  <a:pt x="602" y="199"/>
                  <a:pt x="606" y="197"/>
                  <a:pt x="608" y="195"/>
                </a:cubicBezTo>
                <a:cubicBezTo>
                  <a:pt x="611" y="193"/>
                  <a:pt x="614" y="190"/>
                  <a:pt x="617" y="191"/>
                </a:cubicBezTo>
                <a:cubicBezTo>
                  <a:pt x="631" y="193"/>
                  <a:pt x="639" y="185"/>
                  <a:pt x="648" y="176"/>
                </a:cubicBezTo>
                <a:cubicBezTo>
                  <a:pt x="649" y="174"/>
                  <a:pt x="650" y="173"/>
                  <a:pt x="652" y="172"/>
                </a:cubicBezTo>
                <a:cubicBezTo>
                  <a:pt x="657" y="170"/>
                  <a:pt x="661" y="168"/>
                  <a:pt x="665" y="173"/>
                </a:cubicBezTo>
                <a:cubicBezTo>
                  <a:pt x="668" y="176"/>
                  <a:pt x="666" y="180"/>
                  <a:pt x="664" y="184"/>
                </a:cubicBezTo>
                <a:cubicBezTo>
                  <a:pt x="662" y="189"/>
                  <a:pt x="658" y="192"/>
                  <a:pt x="653" y="195"/>
                </a:cubicBezTo>
                <a:cubicBezTo>
                  <a:pt x="642" y="201"/>
                  <a:pt x="633" y="210"/>
                  <a:pt x="627" y="221"/>
                </a:cubicBezTo>
                <a:cubicBezTo>
                  <a:pt x="624" y="228"/>
                  <a:pt x="620" y="229"/>
                  <a:pt x="613" y="230"/>
                </a:cubicBezTo>
                <a:cubicBezTo>
                  <a:pt x="597" y="232"/>
                  <a:pt x="584" y="240"/>
                  <a:pt x="573" y="250"/>
                </a:cubicBezTo>
                <a:cubicBezTo>
                  <a:pt x="566" y="256"/>
                  <a:pt x="566" y="261"/>
                  <a:pt x="573" y="266"/>
                </a:cubicBezTo>
                <a:cubicBezTo>
                  <a:pt x="582" y="273"/>
                  <a:pt x="590" y="280"/>
                  <a:pt x="596" y="289"/>
                </a:cubicBezTo>
                <a:cubicBezTo>
                  <a:pt x="597" y="291"/>
                  <a:pt x="600" y="293"/>
                  <a:pt x="602" y="293"/>
                </a:cubicBezTo>
                <a:cubicBezTo>
                  <a:pt x="617" y="297"/>
                  <a:pt x="626" y="306"/>
                  <a:pt x="632" y="320"/>
                </a:cubicBezTo>
                <a:cubicBezTo>
                  <a:pt x="637" y="329"/>
                  <a:pt x="645" y="336"/>
                  <a:pt x="653" y="343"/>
                </a:cubicBezTo>
                <a:cubicBezTo>
                  <a:pt x="665" y="353"/>
                  <a:pt x="665" y="355"/>
                  <a:pt x="653" y="365"/>
                </a:cubicBezTo>
                <a:cubicBezTo>
                  <a:pt x="651" y="368"/>
                  <a:pt x="648" y="370"/>
                  <a:pt x="646" y="372"/>
                </a:cubicBezTo>
                <a:cubicBezTo>
                  <a:pt x="641" y="379"/>
                  <a:pt x="635" y="383"/>
                  <a:pt x="626" y="382"/>
                </a:cubicBezTo>
                <a:cubicBezTo>
                  <a:pt x="620" y="381"/>
                  <a:pt x="613" y="382"/>
                  <a:pt x="612" y="387"/>
                </a:cubicBezTo>
                <a:cubicBezTo>
                  <a:pt x="609" y="402"/>
                  <a:pt x="594" y="412"/>
                  <a:pt x="594" y="428"/>
                </a:cubicBezTo>
                <a:cubicBezTo>
                  <a:pt x="594" y="436"/>
                  <a:pt x="594" y="441"/>
                  <a:pt x="600" y="446"/>
                </a:cubicBezTo>
                <a:cubicBezTo>
                  <a:pt x="602" y="448"/>
                  <a:pt x="604" y="450"/>
                  <a:pt x="607" y="453"/>
                </a:cubicBezTo>
                <a:cubicBezTo>
                  <a:pt x="616" y="462"/>
                  <a:pt x="616" y="467"/>
                  <a:pt x="631" y="454"/>
                </a:cubicBezTo>
                <a:cubicBezTo>
                  <a:pt x="639" y="448"/>
                  <a:pt x="642" y="449"/>
                  <a:pt x="648" y="457"/>
                </a:cubicBezTo>
                <a:cubicBezTo>
                  <a:pt x="650" y="459"/>
                  <a:pt x="652" y="461"/>
                  <a:pt x="653" y="463"/>
                </a:cubicBezTo>
                <a:cubicBezTo>
                  <a:pt x="657" y="473"/>
                  <a:pt x="664" y="479"/>
                  <a:pt x="674" y="482"/>
                </a:cubicBezTo>
                <a:cubicBezTo>
                  <a:pt x="688" y="487"/>
                  <a:pt x="690" y="495"/>
                  <a:pt x="681" y="507"/>
                </a:cubicBezTo>
                <a:cubicBezTo>
                  <a:pt x="674" y="516"/>
                  <a:pt x="673" y="525"/>
                  <a:pt x="676" y="535"/>
                </a:cubicBezTo>
                <a:cubicBezTo>
                  <a:pt x="677" y="541"/>
                  <a:pt x="679" y="545"/>
                  <a:pt x="678" y="551"/>
                </a:cubicBezTo>
                <a:cubicBezTo>
                  <a:pt x="676" y="567"/>
                  <a:pt x="681" y="577"/>
                  <a:pt x="695" y="582"/>
                </a:cubicBezTo>
                <a:cubicBezTo>
                  <a:pt x="699" y="583"/>
                  <a:pt x="705" y="583"/>
                  <a:pt x="706" y="589"/>
                </a:cubicBezTo>
                <a:cubicBezTo>
                  <a:pt x="706" y="595"/>
                  <a:pt x="702" y="600"/>
                  <a:pt x="697" y="603"/>
                </a:cubicBezTo>
                <a:cubicBezTo>
                  <a:pt x="686" y="608"/>
                  <a:pt x="678" y="616"/>
                  <a:pt x="675" y="628"/>
                </a:cubicBezTo>
                <a:cubicBezTo>
                  <a:pt x="674" y="631"/>
                  <a:pt x="672" y="633"/>
                  <a:pt x="668" y="633"/>
                </a:cubicBezTo>
                <a:cubicBezTo>
                  <a:pt x="658" y="634"/>
                  <a:pt x="656" y="642"/>
                  <a:pt x="655" y="650"/>
                </a:cubicBezTo>
                <a:cubicBezTo>
                  <a:pt x="652" y="666"/>
                  <a:pt x="652" y="666"/>
                  <a:pt x="633" y="666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8" name="Freeform 11">
            <a:extLst>
              <a:ext uri="{FF2B5EF4-FFF2-40B4-BE49-F238E27FC236}">
                <a16:creationId xmlns:a16="http://schemas.microsoft.com/office/drawing/2014/main" id="{EADCB865-448E-49C1-BEE1-3D4C1D6FD1F8}"/>
              </a:ext>
            </a:extLst>
          </p:cNvPr>
          <p:cNvSpPr>
            <a:spLocks/>
          </p:cNvSpPr>
          <p:nvPr/>
        </p:nvSpPr>
        <p:spPr bwMode="auto">
          <a:xfrm>
            <a:off x="3437774" y="1653530"/>
            <a:ext cx="1607437" cy="1289356"/>
          </a:xfrm>
          <a:custGeom>
            <a:avLst/>
            <a:gdLst>
              <a:gd name="T0" fmla="*/ 503 w 674"/>
              <a:gd name="T1" fmla="*/ 148 h 533"/>
              <a:gd name="T2" fmla="*/ 514 w 674"/>
              <a:gd name="T3" fmla="*/ 166 h 533"/>
              <a:gd name="T4" fmla="*/ 510 w 674"/>
              <a:gd name="T5" fmla="*/ 190 h 533"/>
              <a:gd name="T6" fmla="*/ 534 w 674"/>
              <a:gd name="T7" fmla="*/ 208 h 533"/>
              <a:gd name="T8" fmla="*/ 596 w 674"/>
              <a:gd name="T9" fmla="*/ 242 h 533"/>
              <a:gd name="T10" fmla="*/ 572 w 674"/>
              <a:gd name="T11" fmla="*/ 299 h 533"/>
              <a:gd name="T12" fmla="*/ 562 w 674"/>
              <a:gd name="T13" fmla="*/ 331 h 533"/>
              <a:gd name="T14" fmla="*/ 624 w 674"/>
              <a:gd name="T15" fmla="*/ 351 h 533"/>
              <a:gd name="T16" fmla="*/ 667 w 674"/>
              <a:gd name="T17" fmla="*/ 388 h 533"/>
              <a:gd name="T18" fmla="*/ 655 w 674"/>
              <a:gd name="T19" fmla="*/ 409 h 533"/>
              <a:gd name="T20" fmla="*/ 631 w 674"/>
              <a:gd name="T21" fmla="*/ 470 h 533"/>
              <a:gd name="T22" fmla="*/ 578 w 674"/>
              <a:gd name="T23" fmla="*/ 490 h 533"/>
              <a:gd name="T24" fmla="*/ 550 w 674"/>
              <a:gd name="T25" fmla="*/ 519 h 533"/>
              <a:gd name="T26" fmla="*/ 485 w 674"/>
              <a:gd name="T27" fmla="*/ 531 h 533"/>
              <a:gd name="T28" fmla="*/ 443 w 674"/>
              <a:gd name="T29" fmla="*/ 525 h 533"/>
              <a:gd name="T30" fmla="*/ 380 w 674"/>
              <a:gd name="T31" fmla="*/ 493 h 533"/>
              <a:gd name="T32" fmla="*/ 320 w 674"/>
              <a:gd name="T33" fmla="*/ 465 h 533"/>
              <a:gd name="T34" fmla="*/ 299 w 674"/>
              <a:gd name="T35" fmla="*/ 439 h 533"/>
              <a:gd name="T36" fmla="*/ 250 w 674"/>
              <a:gd name="T37" fmla="*/ 419 h 533"/>
              <a:gd name="T38" fmla="*/ 195 w 674"/>
              <a:gd name="T39" fmla="*/ 403 h 533"/>
              <a:gd name="T40" fmla="*/ 87 w 674"/>
              <a:gd name="T41" fmla="*/ 346 h 533"/>
              <a:gd name="T42" fmla="*/ 63 w 674"/>
              <a:gd name="T43" fmla="*/ 333 h 533"/>
              <a:gd name="T44" fmla="*/ 27 w 674"/>
              <a:gd name="T45" fmla="*/ 318 h 533"/>
              <a:gd name="T46" fmla="*/ 5 w 674"/>
              <a:gd name="T47" fmla="*/ 284 h 533"/>
              <a:gd name="T48" fmla="*/ 48 w 674"/>
              <a:gd name="T49" fmla="*/ 182 h 533"/>
              <a:gd name="T50" fmla="*/ 58 w 674"/>
              <a:gd name="T51" fmla="*/ 143 h 533"/>
              <a:gd name="T52" fmla="*/ 102 w 674"/>
              <a:gd name="T53" fmla="*/ 91 h 533"/>
              <a:gd name="T54" fmla="*/ 135 w 674"/>
              <a:gd name="T55" fmla="*/ 49 h 533"/>
              <a:gd name="T56" fmla="*/ 188 w 674"/>
              <a:gd name="T57" fmla="*/ 12 h 533"/>
              <a:gd name="T58" fmla="*/ 230 w 674"/>
              <a:gd name="T59" fmla="*/ 7 h 533"/>
              <a:gd name="T60" fmla="*/ 265 w 674"/>
              <a:gd name="T61" fmla="*/ 67 h 533"/>
              <a:gd name="T62" fmla="*/ 281 w 674"/>
              <a:gd name="T63" fmla="*/ 101 h 533"/>
              <a:gd name="T64" fmla="*/ 379 w 674"/>
              <a:gd name="T65" fmla="*/ 91 h 533"/>
              <a:gd name="T66" fmla="*/ 434 w 674"/>
              <a:gd name="T67" fmla="*/ 106 h 533"/>
              <a:gd name="T68" fmla="*/ 437 w 674"/>
              <a:gd name="T69" fmla="*/ 158 h 533"/>
              <a:gd name="T70" fmla="*/ 454 w 674"/>
              <a:gd name="T71" fmla="*/ 186 h 533"/>
              <a:gd name="T72" fmla="*/ 469 w 674"/>
              <a:gd name="T73" fmla="*/ 176 h 533"/>
              <a:gd name="T74" fmla="*/ 481 w 674"/>
              <a:gd name="T75" fmla="*/ 148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74" h="533">
                <a:moveTo>
                  <a:pt x="490" y="149"/>
                </a:moveTo>
                <a:cubicBezTo>
                  <a:pt x="493" y="148"/>
                  <a:pt x="498" y="148"/>
                  <a:pt x="503" y="148"/>
                </a:cubicBezTo>
                <a:cubicBezTo>
                  <a:pt x="505" y="148"/>
                  <a:pt x="509" y="148"/>
                  <a:pt x="507" y="152"/>
                </a:cubicBezTo>
                <a:cubicBezTo>
                  <a:pt x="505" y="159"/>
                  <a:pt x="508" y="163"/>
                  <a:pt x="514" y="166"/>
                </a:cubicBezTo>
                <a:cubicBezTo>
                  <a:pt x="518" y="168"/>
                  <a:pt x="518" y="173"/>
                  <a:pt x="515" y="177"/>
                </a:cubicBezTo>
                <a:cubicBezTo>
                  <a:pt x="513" y="181"/>
                  <a:pt x="511" y="185"/>
                  <a:pt x="510" y="190"/>
                </a:cubicBezTo>
                <a:cubicBezTo>
                  <a:pt x="508" y="199"/>
                  <a:pt x="511" y="203"/>
                  <a:pt x="521" y="204"/>
                </a:cubicBezTo>
                <a:cubicBezTo>
                  <a:pt x="525" y="205"/>
                  <a:pt x="530" y="205"/>
                  <a:pt x="534" y="208"/>
                </a:cubicBezTo>
                <a:cubicBezTo>
                  <a:pt x="543" y="214"/>
                  <a:pt x="554" y="219"/>
                  <a:pt x="565" y="220"/>
                </a:cubicBezTo>
                <a:cubicBezTo>
                  <a:pt x="580" y="222"/>
                  <a:pt x="586" y="235"/>
                  <a:pt x="596" y="242"/>
                </a:cubicBezTo>
                <a:cubicBezTo>
                  <a:pt x="600" y="245"/>
                  <a:pt x="598" y="249"/>
                  <a:pt x="596" y="252"/>
                </a:cubicBezTo>
                <a:cubicBezTo>
                  <a:pt x="584" y="265"/>
                  <a:pt x="575" y="281"/>
                  <a:pt x="572" y="299"/>
                </a:cubicBezTo>
                <a:cubicBezTo>
                  <a:pt x="571" y="301"/>
                  <a:pt x="569" y="303"/>
                  <a:pt x="567" y="304"/>
                </a:cubicBezTo>
                <a:cubicBezTo>
                  <a:pt x="557" y="312"/>
                  <a:pt x="557" y="321"/>
                  <a:pt x="562" y="331"/>
                </a:cubicBezTo>
                <a:cubicBezTo>
                  <a:pt x="567" y="342"/>
                  <a:pt x="574" y="346"/>
                  <a:pt x="586" y="345"/>
                </a:cubicBezTo>
                <a:cubicBezTo>
                  <a:pt x="599" y="343"/>
                  <a:pt x="611" y="351"/>
                  <a:pt x="624" y="351"/>
                </a:cubicBezTo>
                <a:cubicBezTo>
                  <a:pt x="637" y="352"/>
                  <a:pt x="647" y="357"/>
                  <a:pt x="658" y="362"/>
                </a:cubicBezTo>
                <a:cubicBezTo>
                  <a:pt x="671" y="368"/>
                  <a:pt x="674" y="376"/>
                  <a:pt x="667" y="388"/>
                </a:cubicBezTo>
                <a:cubicBezTo>
                  <a:pt x="665" y="392"/>
                  <a:pt x="662" y="396"/>
                  <a:pt x="659" y="400"/>
                </a:cubicBezTo>
                <a:cubicBezTo>
                  <a:pt x="658" y="403"/>
                  <a:pt x="654" y="406"/>
                  <a:pt x="655" y="409"/>
                </a:cubicBezTo>
                <a:cubicBezTo>
                  <a:pt x="657" y="429"/>
                  <a:pt x="640" y="444"/>
                  <a:pt x="638" y="463"/>
                </a:cubicBezTo>
                <a:cubicBezTo>
                  <a:pt x="637" y="467"/>
                  <a:pt x="633" y="468"/>
                  <a:pt x="631" y="470"/>
                </a:cubicBezTo>
                <a:cubicBezTo>
                  <a:pt x="620" y="479"/>
                  <a:pt x="607" y="483"/>
                  <a:pt x="594" y="483"/>
                </a:cubicBezTo>
                <a:cubicBezTo>
                  <a:pt x="586" y="482"/>
                  <a:pt x="582" y="485"/>
                  <a:pt x="578" y="490"/>
                </a:cubicBezTo>
                <a:cubicBezTo>
                  <a:pt x="575" y="494"/>
                  <a:pt x="571" y="499"/>
                  <a:pt x="570" y="504"/>
                </a:cubicBezTo>
                <a:cubicBezTo>
                  <a:pt x="569" y="517"/>
                  <a:pt x="559" y="517"/>
                  <a:pt x="550" y="519"/>
                </a:cubicBezTo>
                <a:cubicBezTo>
                  <a:pt x="546" y="519"/>
                  <a:pt x="542" y="516"/>
                  <a:pt x="538" y="518"/>
                </a:cubicBezTo>
                <a:cubicBezTo>
                  <a:pt x="522" y="527"/>
                  <a:pt x="502" y="526"/>
                  <a:pt x="485" y="531"/>
                </a:cubicBezTo>
                <a:cubicBezTo>
                  <a:pt x="477" y="533"/>
                  <a:pt x="472" y="531"/>
                  <a:pt x="466" y="527"/>
                </a:cubicBezTo>
                <a:cubicBezTo>
                  <a:pt x="459" y="522"/>
                  <a:pt x="453" y="518"/>
                  <a:pt x="443" y="525"/>
                </a:cubicBezTo>
                <a:cubicBezTo>
                  <a:pt x="434" y="533"/>
                  <a:pt x="421" y="526"/>
                  <a:pt x="412" y="519"/>
                </a:cubicBezTo>
                <a:cubicBezTo>
                  <a:pt x="402" y="511"/>
                  <a:pt x="389" y="505"/>
                  <a:pt x="380" y="493"/>
                </a:cubicBezTo>
                <a:cubicBezTo>
                  <a:pt x="373" y="483"/>
                  <a:pt x="360" y="478"/>
                  <a:pt x="347" y="476"/>
                </a:cubicBezTo>
                <a:cubicBezTo>
                  <a:pt x="337" y="475"/>
                  <a:pt x="329" y="469"/>
                  <a:pt x="320" y="465"/>
                </a:cubicBezTo>
                <a:cubicBezTo>
                  <a:pt x="318" y="464"/>
                  <a:pt x="316" y="463"/>
                  <a:pt x="315" y="461"/>
                </a:cubicBezTo>
                <a:cubicBezTo>
                  <a:pt x="314" y="451"/>
                  <a:pt x="304" y="446"/>
                  <a:pt x="299" y="439"/>
                </a:cubicBezTo>
                <a:cubicBezTo>
                  <a:pt x="291" y="428"/>
                  <a:pt x="280" y="425"/>
                  <a:pt x="271" y="426"/>
                </a:cubicBezTo>
                <a:cubicBezTo>
                  <a:pt x="261" y="428"/>
                  <a:pt x="256" y="424"/>
                  <a:pt x="250" y="419"/>
                </a:cubicBezTo>
                <a:cubicBezTo>
                  <a:pt x="238" y="411"/>
                  <a:pt x="226" y="406"/>
                  <a:pt x="211" y="408"/>
                </a:cubicBezTo>
                <a:cubicBezTo>
                  <a:pt x="205" y="409"/>
                  <a:pt x="200" y="406"/>
                  <a:pt x="195" y="403"/>
                </a:cubicBezTo>
                <a:cubicBezTo>
                  <a:pt x="177" y="391"/>
                  <a:pt x="158" y="381"/>
                  <a:pt x="137" y="374"/>
                </a:cubicBezTo>
                <a:cubicBezTo>
                  <a:pt x="119" y="368"/>
                  <a:pt x="103" y="356"/>
                  <a:pt x="87" y="346"/>
                </a:cubicBezTo>
                <a:cubicBezTo>
                  <a:pt x="82" y="343"/>
                  <a:pt x="79" y="340"/>
                  <a:pt x="73" y="340"/>
                </a:cubicBezTo>
                <a:cubicBezTo>
                  <a:pt x="68" y="340"/>
                  <a:pt x="66" y="337"/>
                  <a:pt x="63" y="333"/>
                </a:cubicBezTo>
                <a:cubicBezTo>
                  <a:pt x="56" y="322"/>
                  <a:pt x="53" y="322"/>
                  <a:pt x="43" y="325"/>
                </a:cubicBezTo>
                <a:cubicBezTo>
                  <a:pt x="33" y="329"/>
                  <a:pt x="28" y="328"/>
                  <a:pt x="27" y="318"/>
                </a:cubicBezTo>
                <a:cubicBezTo>
                  <a:pt x="26" y="306"/>
                  <a:pt x="22" y="297"/>
                  <a:pt x="8" y="294"/>
                </a:cubicBezTo>
                <a:cubicBezTo>
                  <a:pt x="3" y="293"/>
                  <a:pt x="0" y="289"/>
                  <a:pt x="5" y="284"/>
                </a:cubicBezTo>
                <a:cubicBezTo>
                  <a:pt x="9" y="279"/>
                  <a:pt x="11" y="272"/>
                  <a:pt x="17" y="268"/>
                </a:cubicBezTo>
                <a:cubicBezTo>
                  <a:pt x="49" y="248"/>
                  <a:pt x="54" y="216"/>
                  <a:pt x="48" y="182"/>
                </a:cubicBezTo>
                <a:cubicBezTo>
                  <a:pt x="47" y="173"/>
                  <a:pt x="47" y="166"/>
                  <a:pt x="53" y="158"/>
                </a:cubicBezTo>
                <a:cubicBezTo>
                  <a:pt x="56" y="154"/>
                  <a:pt x="59" y="149"/>
                  <a:pt x="58" y="143"/>
                </a:cubicBezTo>
                <a:cubicBezTo>
                  <a:pt x="57" y="132"/>
                  <a:pt x="64" y="124"/>
                  <a:pt x="74" y="120"/>
                </a:cubicBezTo>
                <a:cubicBezTo>
                  <a:pt x="88" y="115"/>
                  <a:pt x="96" y="103"/>
                  <a:pt x="102" y="91"/>
                </a:cubicBezTo>
                <a:cubicBezTo>
                  <a:pt x="107" y="83"/>
                  <a:pt x="112" y="75"/>
                  <a:pt x="119" y="69"/>
                </a:cubicBezTo>
                <a:cubicBezTo>
                  <a:pt x="126" y="64"/>
                  <a:pt x="131" y="56"/>
                  <a:pt x="135" y="49"/>
                </a:cubicBezTo>
                <a:cubicBezTo>
                  <a:pt x="143" y="31"/>
                  <a:pt x="159" y="23"/>
                  <a:pt x="174" y="14"/>
                </a:cubicBezTo>
                <a:cubicBezTo>
                  <a:pt x="178" y="11"/>
                  <a:pt x="183" y="12"/>
                  <a:pt x="188" y="12"/>
                </a:cubicBezTo>
                <a:cubicBezTo>
                  <a:pt x="200" y="14"/>
                  <a:pt x="210" y="11"/>
                  <a:pt x="220" y="4"/>
                </a:cubicBezTo>
                <a:cubicBezTo>
                  <a:pt x="225" y="1"/>
                  <a:pt x="228" y="0"/>
                  <a:pt x="230" y="7"/>
                </a:cubicBezTo>
                <a:cubicBezTo>
                  <a:pt x="234" y="19"/>
                  <a:pt x="243" y="28"/>
                  <a:pt x="252" y="37"/>
                </a:cubicBezTo>
                <a:cubicBezTo>
                  <a:pt x="260" y="45"/>
                  <a:pt x="266" y="54"/>
                  <a:pt x="265" y="67"/>
                </a:cubicBezTo>
                <a:cubicBezTo>
                  <a:pt x="264" y="78"/>
                  <a:pt x="274" y="86"/>
                  <a:pt x="275" y="97"/>
                </a:cubicBezTo>
                <a:cubicBezTo>
                  <a:pt x="275" y="99"/>
                  <a:pt x="278" y="100"/>
                  <a:pt x="281" y="101"/>
                </a:cubicBezTo>
                <a:cubicBezTo>
                  <a:pt x="284" y="101"/>
                  <a:pt x="288" y="101"/>
                  <a:pt x="291" y="100"/>
                </a:cubicBezTo>
                <a:cubicBezTo>
                  <a:pt x="320" y="98"/>
                  <a:pt x="350" y="96"/>
                  <a:pt x="379" y="91"/>
                </a:cubicBezTo>
                <a:cubicBezTo>
                  <a:pt x="390" y="89"/>
                  <a:pt x="400" y="87"/>
                  <a:pt x="411" y="88"/>
                </a:cubicBezTo>
                <a:cubicBezTo>
                  <a:pt x="423" y="89"/>
                  <a:pt x="430" y="94"/>
                  <a:pt x="434" y="106"/>
                </a:cubicBezTo>
                <a:cubicBezTo>
                  <a:pt x="437" y="117"/>
                  <a:pt x="437" y="128"/>
                  <a:pt x="442" y="139"/>
                </a:cubicBezTo>
                <a:cubicBezTo>
                  <a:pt x="445" y="145"/>
                  <a:pt x="439" y="151"/>
                  <a:pt x="437" y="158"/>
                </a:cubicBezTo>
                <a:cubicBezTo>
                  <a:pt x="432" y="172"/>
                  <a:pt x="432" y="173"/>
                  <a:pt x="446" y="181"/>
                </a:cubicBezTo>
                <a:cubicBezTo>
                  <a:pt x="449" y="182"/>
                  <a:pt x="451" y="184"/>
                  <a:pt x="454" y="186"/>
                </a:cubicBezTo>
                <a:cubicBezTo>
                  <a:pt x="457" y="189"/>
                  <a:pt x="460" y="194"/>
                  <a:pt x="466" y="190"/>
                </a:cubicBezTo>
                <a:cubicBezTo>
                  <a:pt x="471" y="187"/>
                  <a:pt x="471" y="181"/>
                  <a:pt x="469" y="176"/>
                </a:cubicBezTo>
                <a:cubicBezTo>
                  <a:pt x="466" y="168"/>
                  <a:pt x="469" y="162"/>
                  <a:pt x="470" y="155"/>
                </a:cubicBezTo>
                <a:cubicBezTo>
                  <a:pt x="470" y="145"/>
                  <a:pt x="475" y="147"/>
                  <a:pt x="481" y="148"/>
                </a:cubicBezTo>
                <a:cubicBezTo>
                  <a:pt x="483" y="149"/>
                  <a:pt x="486" y="149"/>
                  <a:pt x="490" y="149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9" name="Freeform 12">
            <a:extLst>
              <a:ext uri="{FF2B5EF4-FFF2-40B4-BE49-F238E27FC236}">
                <a16:creationId xmlns:a16="http://schemas.microsoft.com/office/drawing/2014/main" id="{AF96FBF2-E913-4AF7-AA07-08E4EDECF8C2}"/>
              </a:ext>
            </a:extLst>
          </p:cNvPr>
          <p:cNvSpPr>
            <a:spLocks/>
          </p:cNvSpPr>
          <p:nvPr/>
        </p:nvSpPr>
        <p:spPr bwMode="auto">
          <a:xfrm>
            <a:off x="8018171" y="3609349"/>
            <a:ext cx="1726800" cy="1300651"/>
          </a:xfrm>
          <a:custGeom>
            <a:avLst/>
            <a:gdLst>
              <a:gd name="T0" fmla="*/ 288 w 724"/>
              <a:gd name="T1" fmla="*/ 498 h 537"/>
              <a:gd name="T2" fmla="*/ 286 w 724"/>
              <a:gd name="T3" fmla="*/ 531 h 537"/>
              <a:gd name="T4" fmla="*/ 251 w 724"/>
              <a:gd name="T5" fmla="*/ 531 h 537"/>
              <a:gd name="T6" fmla="*/ 173 w 724"/>
              <a:gd name="T7" fmla="*/ 507 h 537"/>
              <a:gd name="T8" fmla="*/ 170 w 724"/>
              <a:gd name="T9" fmla="*/ 479 h 537"/>
              <a:gd name="T10" fmla="*/ 194 w 724"/>
              <a:gd name="T11" fmla="*/ 451 h 537"/>
              <a:gd name="T12" fmla="*/ 157 w 724"/>
              <a:gd name="T13" fmla="*/ 403 h 537"/>
              <a:gd name="T14" fmla="*/ 132 w 724"/>
              <a:gd name="T15" fmla="*/ 399 h 537"/>
              <a:gd name="T16" fmla="*/ 105 w 724"/>
              <a:gd name="T17" fmla="*/ 393 h 537"/>
              <a:gd name="T18" fmla="*/ 60 w 724"/>
              <a:gd name="T19" fmla="*/ 347 h 537"/>
              <a:gd name="T20" fmla="*/ 41 w 724"/>
              <a:gd name="T21" fmla="*/ 310 h 537"/>
              <a:gd name="T22" fmla="*/ 4 w 724"/>
              <a:gd name="T23" fmla="*/ 272 h 537"/>
              <a:gd name="T24" fmla="*/ 36 w 724"/>
              <a:gd name="T25" fmla="*/ 237 h 537"/>
              <a:gd name="T26" fmla="*/ 73 w 724"/>
              <a:gd name="T27" fmla="*/ 196 h 537"/>
              <a:gd name="T28" fmla="*/ 106 w 724"/>
              <a:gd name="T29" fmla="*/ 165 h 537"/>
              <a:gd name="T30" fmla="*/ 132 w 724"/>
              <a:gd name="T31" fmla="*/ 172 h 537"/>
              <a:gd name="T32" fmla="*/ 153 w 724"/>
              <a:gd name="T33" fmla="*/ 163 h 537"/>
              <a:gd name="T34" fmla="*/ 179 w 724"/>
              <a:gd name="T35" fmla="*/ 151 h 537"/>
              <a:gd name="T36" fmla="*/ 188 w 724"/>
              <a:gd name="T37" fmla="*/ 135 h 537"/>
              <a:gd name="T38" fmla="*/ 164 w 724"/>
              <a:gd name="T39" fmla="*/ 112 h 537"/>
              <a:gd name="T40" fmla="*/ 161 w 724"/>
              <a:gd name="T41" fmla="*/ 108 h 537"/>
              <a:gd name="T42" fmla="*/ 186 w 724"/>
              <a:gd name="T43" fmla="*/ 78 h 537"/>
              <a:gd name="T44" fmla="*/ 197 w 724"/>
              <a:gd name="T45" fmla="*/ 62 h 537"/>
              <a:gd name="T46" fmla="*/ 208 w 724"/>
              <a:gd name="T47" fmla="*/ 76 h 537"/>
              <a:gd name="T48" fmla="*/ 234 w 724"/>
              <a:gd name="T49" fmla="*/ 88 h 537"/>
              <a:gd name="T50" fmla="*/ 267 w 724"/>
              <a:gd name="T51" fmla="*/ 81 h 537"/>
              <a:gd name="T52" fmla="*/ 309 w 724"/>
              <a:gd name="T53" fmla="*/ 87 h 537"/>
              <a:gd name="T54" fmla="*/ 351 w 724"/>
              <a:gd name="T55" fmla="*/ 68 h 537"/>
              <a:gd name="T56" fmla="*/ 387 w 724"/>
              <a:gd name="T57" fmla="*/ 40 h 537"/>
              <a:gd name="T58" fmla="*/ 443 w 724"/>
              <a:gd name="T59" fmla="*/ 20 h 537"/>
              <a:gd name="T60" fmla="*/ 511 w 724"/>
              <a:gd name="T61" fmla="*/ 0 h 537"/>
              <a:gd name="T62" fmla="*/ 548 w 724"/>
              <a:gd name="T63" fmla="*/ 52 h 537"/>
              <a:gd name="T64" fmla="*/ 561 w 724"/>
              <a:gd name="T65" fmla="*/ 76 h 537"/>
              <a:gd name="T66" fmla="*/ 596 w 724"/>
              <a:gd name="T67" fmla="*/ 82 h 537"/>
              <a:gd name="T68" fmla="*/ 653 w 724"/>
              <a:gd name="T69" fmla="*/ 69 h 537"/>
              <a:gd name="T70" fmla="*/ 692 w 724"/>
              <a:gd name="T71" fmla="*/ 80 h 537"/>
              <a:gd name="T72" fmla="*/ 719 w 724"/>
              <a:gd name="T73" fmla="*/ 107 h 537"/>
              <a:gd name="T74" fmla="*/ 691 w 724"/>
              <a:gd name="T75" fmla="*/ 141 h 537"/>
              <a:gd name="T76" fmla="*/ 652 w 724"/>
              <a:gd name="T77" fmla="*/ 163 h 537"/>
              <a:gd name="T78" fmla="*/ 621 w 724"/>
              <a:gd name="T79" fmla="*/ 169 h 537"/>
              <a:gd name="T80" fmla="*/ 585 w 724"/>
              <a:gd name="T81" fmla="*/ 174 h 537"/>
              <a:gd name="T82" fmla="*/ 557 w 724"/>
              <a:gd name="T83" fmla="*/ 187 h 537"/>
              <a:gd name="T84" fmla="*/ 501 w 724"/>
              <a:gd name="T85" fmla="*/ 230 h 537"/>
              <a:gd name="T86" fmla="*/ 483 w 724"/>
              <a:gd name="T87" fmla="*/ 285 h 537"/>
              <a:gd name="T88" fmla="*/ 478 w 724"/>
              <a:gd name="T89" fmla="*/ 317 h 537"/>
              <a:gd name="T90" fmla="*/ 507 w 724"/>
              <a:gd name="T91" fmla="*/ 360 h 537"/>
              <a:gd name="T92" fmla="*/ 452 w 724"/>
              <a:gd name="T93" fmla="*/ 359 h 537"/>
              <a:gd name="T94" fmla="*/ 409 w 724"/>
              <a:gd name="T95" fmla="*/ 392 h 537"/>
              <a:gd name="T96" fmla="*/ 393 w 724"/>
              <a:gd name="T97" fmla="*/ 414 h 537"/>
              <a:gd name="T98" fmla="*/ 380 w 724"/>
              <a:gd name="T99" fmla="*/ 406 h 537"/>
              <a:gd name="T100" fmla="*/ 356 w 724"/>
              <a:gd name="T101" fmla="*/ 430 h 537"/>
              <a:gd name="T102" fmla="*/ 334 w 724"/>
              <a:gd name="T103" fmla="*/ 440 h 537"/>
              <a:gd name="T104" fmla="*/ 303 w 724"/>
              <a:gd name="T105" fmla="*/ 454 h 5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24" h="537">
                <a:moveTo>
                  <a:pt x="284" y="477"/>
                </a:moveTo>
                <a:cubicBezTo>
                  <a:pt x="285" y="487"/>
                  <a:pt x="285" y="492"/>
                  <a:pt x="288" y="498"/>
                </a:cubicBezTo>
                <a:cubicBezTo>
                  <a:pt x="292" y="505"/>
                  <a:pt x="289" y="515"/>
                  <a:pt x="292" y="524"/>
                </a:cubicBezTo>
                <a:cubicBezTo>
                  <a:pt x="293" y="527"/>
                  <a:pt x="290" y="530"/>
                  <a:pt x="286" y="531"/>
                </a:cubicBezTo>
                <a:cubicBezTo>
                  <a:pt x="277" y="532"/>
                  <a:pt x="268" y="532"/>
                  <a:pt x="259" y="535"/>
                </a:cubicBezTo>
                <a:cubicBezTo>
                  <a:pt x="256" y="537"/>
                  <a:pt x="253" y="534"/>
                  <a:pt x="251" y="531"/>
                </a:cubicBezTo>
                <a:cubicBezTo>
                  <a:pt x="242" y="523"/>
                  <a:pt x="236" y="512"/>
                  <a:pt x="221" y="518"/>
                </a:cubicBezTo>
                <a:cubicBezTo>
                  <a:pt x="206" y="510"/>
                  <a:pt x="189" y="512"/>
                  <a:pt x="173" y="507"/>
                </a:cubicBezTo>
                <a:cubicBezTo>
                  <a:pt x="167" y="505"/>
                  <a:pt x="160" y="507"/>
                  <a:pt x="155" y="501"/>
                </a:cubicBezTo>
                <a:cubicBezTo>
                  <a:pt x="161" y="494"/>
                  <a:pt x="158" y="483"/>
                  <a:pt x="170" y="479"/>
                </a:cubicBezTo>
                <a:cubicBezTo>
                  <a:pt x="177" y="477"/>
                  <a:pt x="184" y="472"/>
                  <a:pt x="190" y="467"/>
                </a:cubicBezTo>
                <a:cubicBezTo>
                  <a:pt x="198" y="462"/>
                  <a:pt x="199" y="457"/>
                  <a:pt x="194" y="451"/>
                </a:cubicBezTo>
                <a:cubicBezTo>
                  <a:pt x="188" y="445"/>
                  <a:pt x="186" y="438"/>
                  <a:pt x="184" y="430"/>
                </a:cubicBezTo>
                <a:cubicBezTo>
                  <a:pt x="179" y="417"/>
                  <a:pt x="173" y="406"/>
                  <a:pt x="157" y="403"/>
                </a:cubicBezTo>
                <a:cubicBezTo>
                  <a:pt x="154" y="403"/>
                  <a:pt x="150" y="400"/>
                  <a:pt x="147" y="398"/>
                </a:cubicBezTo>
                <a:cubicBezTo>
                  <a:pt x="141" y="395"/>
                  <a:pt x="137" y="395"/>
                  <a:pt x="132" y="399"/>
                </a:cubicBezTo>
                <a:cubicBezTo>
                  <a:pt x="128" y="403"/>
                  <a:pt x="123" y="404"/>
                  <a:pt x="117" y="404"/>
                </a:cubicBezTo>
                <a:cubicBezTo>
                  <a:pt x="110" y="404"/>
                  <a:pt x="105" y="402"/>
                  <a:pt x="105" y="393"/>
                </a:cubicBezTo>
                <a:cubicBezTo>
                  <a:pt x="104" y="379"/>
                  <a:pt x="96" y="368"/>
                  <a:pt x="83" y="363"/>
                </a:cubicBezTo>
                <a:cubicBezTo>
                  <a:pt x="73" y="359"/>
                  <a:pt x="68" y="352"/>
                  <a:pt x="60" y="347"/>
                </a:cubicBezTo>
                <a:cubicBezTo>
                  <a:pt x="55" y="343"/>
                  <a:pt x="54" y="337"/>
                  <a:pt x="53" y="331"/>
                </a:cubicBezTo>
                <a:cubicBezTo>
                  <a:pt x="53" y="322"/>
                  <a:pt x="50" y="316"/>
                  <a:pt x="41" y="310"/>
                </a:cubicBezTo>
                <a:cubicBezTo>
                  <a:pt x="28" y="303"/>
                  <a:pt x="17" y="292"/>
                  <a:pt x="5" y="282"/>
                </a:cubicBezTo>
                <a:cubicBezTo>
                  <a:pt x="2" y="279"/>
                  <a:pt x="0" y="275"/>
                  <a:pt x="4" y="272"/>
                </a:cubicBezTo>
                <a:cubicBezTo>
                  <a:pt x="13" y="264"/>
                  <a:pt x="16" y="251"/>
                  <a:pt x="28" y="246"/>
                </a:cubicBezTo>
                <a:cubicBezTo>
                  <a:pt x="32" y="245"/>
                  <a:pt x="34" y="241"/>
                  <a:pt x="36" y="237"/>
                </a:cubicBezTo>
                <a:cubicBezTo>
                  <a:pt x="41" y="230"/>
                  <a:pt x="47" y="224"/>
                  <a:pt x="55" y="219"/>
                </a:cubicBezTo>
                <a:cubicBezTo>
                  <a:pt x="63" y="214"/>
                  <a:pt x="71" y="207"/>
                  <a:pt x="73" y="196"/>
                </a:cubicBezTo>
                <a:cubicBezTo>
                  <a:pt x="74" y="184"/>
                  <a:pt x="83" y="179"/>
                  <a:pt x="92" y="173"/>
                </a:cubicBezTo>
                <a:cubicBezTo>
                  <a:pt x="96" y="170"/>
                  <a:pt x="101" y="168"/>
                  <a:pt x="106" y="165"/>
                </a:cubicBezTo>
                <a:cubicBezTo>
                  <a:pt x="115" y="159"/>
                  <a:pt x="115" y="159"/>
                  <a:pt x="122" y="170"/>
                </a:cubicBezTo>
                <a:cubicBezTo>
                  <a:pt x="125" y="174"/>
                  <a:pt x="128" y="175"/>
                  <a:pt x="132" y="172"/>
                </a:cubicBezTo>
                <a:cubicBezTo>
                  <a:pt x="135" y="169"/>
                  <a:pt x="137" y="166"/>
                  <a:pt x="140" y="163"/>
                </a:cubicBezTo>
                <a:cubicBezTo>
                  <a:pt x="144" y="160"/>
                  <a:pt x="148" y="160"/>
                  <a:pt x="153" y="163"/>
                </a:cubicBezTo>
                <a:cubicBezTo>
                  <a:pt x="162" y="170"/>
                  <a:pt x="170" y="167"/>
                  <a:pt x="172" y="156"/>
                </a:cubicBezTo>
                <a:cubicBezTo>
                  <a:pt x="173" y="149"/>
                  <a:pt x="172" y="148"/>
                  <a:pt x="179" y="151"/>
                </a:cubicBezTo>
                <a:cubicBezTo>
                  <a:pt x="184" y="153"/>
                  <a:pt x="190" y="153"/>
                  <a:pt x="187" y="144"/>
                </a:cubicBezTo>
                <a:cubicBezTo>
                  <a:pt x="186" y="141"/>
                  <a:pt x="187" y="138"/>
                  <a:pt x="188" y="135"/>
                </a:cubicBezTo>
                <a:cubicBezTo>
                  <a:pt x="193" y="126"/>
                  <a:pt x="188" y="114"/>
                  <a:pt x="180" y="110"/>
                </a:cubicBezTo>
                <a:cubicBezTo>
                  <a:pt x="174" y="106"/>
                  <a:pt x="169" y="110"/>
                  <a:pt x="164" y="112"/>
                </a:cubicBezTo>
                <a:cubicBezTo>
                  <a:pt x="162" y="113"/>
                  <a:pt x="160" y="115"/>
                  <a:pt x="159" y="113"/>
                </a:cubicBezTo>
                <a:cubicBezTo>
                  <a:pt x="158" y="110"/>
                  <a:pt x="160" y="109"/>
                  <a:pt x="161" y="108"/>
                </a:cubicBezTo>
                <a:cubicBezTo>
                  <a:pt x="165" y="106"/>
                  <a:pt x="169" y="104"/>
                  <a:pt x="173" y="101"/>
                </a:cubicBezTo>
                <a:cubicBezTo>
                  <a:pt x="182" y="96"/>
                  <a:pt x="190" y="90"/>
                  <a:pt x="186" y="78"/>
                </a:cubicBezTo>
                <a:cubicBezTo>
                  <a:pt x="185" y="76"/>
                  <a:pt x="186" y="72"/>
                  <a:pt x="187" y="70"/>
                </a:cubicBezTo>
                <a:cubicBezTo>
                  <a:pt x="188" y="65"/>
                  <a:pt x="192" y="62"/>
                  <a:pt x="197" y="62"/>
                </a:cubicBezTo>
                <a:cubicBezTo>
                  <a:pt x="201" y="61"/>
                  <a:pt x="204" y="65"/>
                  <a:pt x="205" y="69"/>
                </a:cubicBezTo>
                <a:cubicBezTo>
                  <a:pt x="206" y="71"/>
                  <a:pt x="207" y="74"/>
                  <a:pt x="208" y="76"/>
                </a:cubicBezTo>
                <a:cubicBezTo>
                  <a:pt x="210" y="91"/>
                  <a:pt x="211" y="91"/>
                  <a:pt x="223" y="84"/>
                </a:cubicBezTo>
                <a:cubicBezTo>
                  <a:pt x="229" y="80"/>
                  <a:pt x="231" y="81"/>
                  <a:pt x="234" y="88"/>
                </a:cubicBezTo>
                <a:cubicBezTo>
                  <a:pt x="236" y="94"/>
                  <a:pt x="243" y="93"/>
                  <a:pt x="248" y="92"/>
                </a:cubicBezTo>
                <a:cubicBezTo>
                  <a:pt x="255" y="90"/>
                  <a:pt x="261" y="85"/>
                  <a:pt x="267" y="81"/>
                </a:cubicBezTo>
                <a:cubicBezTo>
                  <a:pt x="278" y="74"/>
                  <a:pt x="283" y="73"/>
                  <a:pt x="289" y="83"/>
                </a:cubicBezTo>
                <a:cubicBezTo>
                  <a:pt x="296" y="93"/>
                  <a:pt x="303" y="91"/>
                  <a:pt x="309" y="87"/>
                </a:cubicBezTo>
                <a:cubicBezTo>
                  <a:pt x="317" y="83"/>
                  <a:pt x="326" y="80"/>
                  <a:pt x="335" y="78"/>
                </a:cubicBezTo>
                <a:cubicBezTo>
                  <a:pt x="341" y="76"/>
                  <a:pt x="347" y="73"/>
                  <a:pt x="351" y="68"/>
                </a:cubicBezTo>
                <a:cubicBezTo>
                  <a:pt x="354" y="64"/>
                  <a:pt x="359" y="61"/>
                  <a:pt x="364" y="58"/>
                </a:cubicBezTo>
                <a:cubicBezTo>
                  <a:pt x="373" y="54"/>
                  <a:pt x="382" y="50"/>
                  <a:pt x="387" y="40"/>
                </a:cubicBezTo>
                <a:cubicBezTo>
                  <a:pt x="389" y="37"/>
                  <a:pt x="392" y="34"/>
                  <a:pt x="396" y="33"/>
                </a:cubicBezTo>
                <a:cubicBezTo>
                  <a:pt x="412" y="29"/>
                  <a:pt x="425" y="18"/>
                  <a:pt x="443" y="20"/>
                </a:cubicBezTo>
                <a:cubicBezTo>
                  <a:pt x="457" y="22"/>
                  <a:pt x="470" y="20"/>
                  <a:pt x="482" y="9"/>
                </a:cubicBezTo>
                <a:cubicBezTo>
                  <a:pt x="489" y="2"/>
                  <a:pt x="501" y="1"/>
                  <a:pt x="511" y="0"/>
                </a:cubicBezTo>
                <a:cubicBezTo>
                  <a:pt x="520" y="0"/>
                  <a:pt x="527" y="4"/>
                  <a:pt x="527" y="15"/>
                </a:cubicBezTo>
                <a:cubicBezTo>
                  <a:pt x="529" y="31"/>
                  <a:pt x="538" y="41"/>
                  <a:pt x="548" y="52"/>
                </a:cubicBezTo>
                <a:cubicBezTo>
                  <a:pt x="553" y="57"/>
                  <a:pt x="558" y="61"/>
                  <a:pt x="557" y="70"/>
                </a:cubicBezTo>
                <a:cubicBezTo>
                  <a:pt x="557" y="72"/>
                  <a:pt x="559" y="76"/>
                  <a:pt x="561" y="76"/>
                </a:cubicBezTo>
                <a:cubicBezTo>
                  <a:pt x="569" y="75"/>
                  <a:pt x="576" y="83"/>
                  <a:pt x="584" y="78"/>
                </a:cubicBezTo>
                <a:cubicBezTo>
                  <a:pt x="589" y="76"/>
                  <a:pt x="593" y="77"/>
                  <a:pt x="596" y="82"/>
                </a:cubicBezTo>
                <a:cubicBezTo>
                  <a:pt x="601" y="91"/>
                  <a:pt x="609" y="90"/>
                  <a:pt x="614" y="84"/>
                </a:cubicBezTo>
                <a:cubicBezTo>
                  <a:pt x="625" y="74"/>
                  <a:pt x="641" y="77"/>
                  <a:pt x="653" y="69"/>
                </a:cubicBezTo>
                <a:cubicBezTo>
                  <a:pt x="659" y="65"/>
                  <a:pt x="668" y="71"/>
                  <a:pt x="675" y="74"/>
                </a:cubicBezTo>
                <a:cubicBezTo>
                  <a:pt x="681" y="75"/>
                  <a:pt x="686" y="81"/>
                  <a:pt x="692" y="80"/>
                </a:cubicBezTo>
                <a:cubicBezTo>
                  <a:pt x="708" y="76"/>
                  <a:pt x="713" y="88"/>
                  <a:pt x="721" y="97"/>
                </a:cubicBezTo>
                <a:cubicBezTo>
                  <a:pt x="724" y="102"/>
                  <a:pt x="722" y="104"/>
                  <a:pt x="719" y="107"/>
                </a:cubicBezTo>
                <a:cubicBezTo>
                  <a:pt x="713" y="114"/>
                  <a:pt x="705" y="120"/>
                  <a:pt x="698" y="125"/>
                </a:cubicBezTo>
                <a:cubicBezTo>
                  <a:pt x="692" y="129"/>
                  <a:pt x="687" y="132"/>
                  <a:pt x="691" y="141"/>
                </a:cubicBezTo>
                <a:cubicBezTo>
                  <a:pt x="694" y="148"/>
                  <a:pt x="690" y="154"/>
                  <a:pt x="683" y="156"/>
                </a:cubicBezTo>
                <a:cubicBezTo>
                  <a:pt x="673" y="159"/>
                  <a:pt x="663" y="163"/>
                  <a:pt x="652" y="163"/>
                </a:cubicBezTo>
                <a:cubicBezTo>
                  <a:pt x="643" y="164"/>
                  <a:pt x="636" y="166"/>
                  <a:pt x="629" y="173"/>
                </a:cubicBezTo>
                <a:cubicBezTo>
                  <a:pt x="626" y="177"/>
                  <a:pt x="623" y="175"/>
                  <a:pt x="621" y="169"/>
                </a:cubicBezTo>
                <a:cubicBezTo>
                  <a:pt x="617" y="158"/>
                  <a:pt x="615" y="157"/>
                  <a:pt x="606" y="166"/>
                </a:cubicBezTo>
                <a:cubicBezTo>
                  <a:pt x="600" y="171"/>
                  <a:pt x="596" y="178"/>
                  <a:pt x="585" y="174"/>
                </a:cubicBezTo>
                <a:cubicBezTo>
                  <a:pt x="582" y="172"/>
                  <a:pt x="576" y="177"/>
                  <a:pt x="571" y="179"/>
                </a:cubicBezTo>
                <a:cubicBezTo>
                  <a:pt x="566" y="182"/>
                  <a:pt x="562" y="187"/>
                  <a:pt x="557" y="187"/>
                </a:cubicBezTo>
                <a:cubicBezTo>
                  <a:pt x="537" y="189"/>
                  <a:pt x="525" y="203"/>
                  <a:pt x="510" y="214"/>
                </a:cubicBezTo>
                <a:cubicBezTo>
                  <a:pt x="504" y="218"/>
                  <a:pt x="501" y="222"/>
                  <a:pt x="501" y="230"/>
                </a:cubicBezTo>
                <a:cubicBezTo>
                  <a:pt x="501" y="242"/>
                  <a:pt x="494" y="252"/>
                  <a:pt x="496" y="265"/>
                </a:cubicBezTo>
                <a:cubicBezTo>
                  <a:pt x="496" y="272"/>
                  <a:pt x="493" y="282"/>
                  <a:pt x="483" y="285"/>
                </a:cubicBezTo>
                <a:cubicBezTo>
                  <a:pt x="478" y="287"/>
                  <a:pt x="476" y="291"/>
                  <a:pt x="473" y="295"/>
                </a:cubicBezTo>
                <a:cubicBezTo>
                  <a:pt x="467" y="306"/>
                  <a:pt x="467" y="308"/>
                  <a:pt x="478" y="317"/>
                </a:cubicBezTo>
                <a:cubicBezTo>
                  <a:pt x="491" y="326"/>
                  <a:pt x="501" y="338"/>
                  <a:pt x="510" y="351"/>
                </a:cubicBezTo>
                <a:cubicBezTo>
                  <a:pt x="513" y="356"/>
                  <a:pt x="513" y="358"/>
                  <a:pt x="507" y="360"/>
                </a:cubicBezTo>
                <a:cubicBezTo>
                  <a:pt x="500" y="362"/>
                  <a:pt x="494" y="363"/>
                  <a:pt x="487" y="357"/>
                </a:cubicBezTo>
                <a:cubicBezTo>
                  <a:pt x="472" y="344"/>
                  <a:pt x="467" y="345"/>
                  <a:pt x="452" y="359"/>
                </a:cubicBezTo>
                <a:cubicBezTo>
                  <a:pt x="442" y="369"/>
                  <a:pt x="430" y="374"/>
                  <a:pt x="418" y="379"/>
                </a:cubicBezTo>
                <a:cubicBezTo>
                  <a:pt x="410" y="381"/>
                  <a:pt x="408" y="385"/>
                  <a:pt x="409" y="392"/>
                </a:cubicBezTo>
                <a:cubicBezTo>
                  <a:pt x="409" y="398"/>
                  <a:pt x="409" y="404"/>
                  <a:pt x="406" y="409"/>
                </a:cubicBezTo>
                <a:cubicBezTo>
                  <a:pt x="403" y="415"/>
                  <a:pt x="399" y="417"/>
                  <a:pt x="393" y="414"/>
                </a:cubicBezTo>
                <a:cubicBezTo>
                  <a:pt x="391" y="412"/>
                  <a:pt x="388" y="410"/>
                  <a:pt x="385" y="408"/>
                </a:cubicBezTo>
                <a:cubicBezTo>
                  <a:pt x="383" y="407"/>
                  <a:pt x="381" y="406"/>
                  <a:pt x="380" y="406"/>
                </a:cubicBezTo>
                <a:cubicBezTo>
                  <a:pt x="377" y="406"/>
                  <a:pt x="374" y="407"/>
                  <a:pt x="373" y="410"/>
                </a:cubicBezTo>
                <a:cubicBezTo>
                  <a:pt x="372" y="420"/>
                  <a:pt x="352" y="416"/>
                  <a:pt x="356" y="430"/>
                </a:cubicBezTo>
                <a:cubicBezTo>
                  <a:pt x="358" y="437"/>
                  <a:pt x="355" y="440"/>
                  <a:pt x="348" y="440"/>
                </a:cubicBezTo>
                <a:cubicBezTo>
                  <a:pt x="343" y="440"/>
                  <a:pt x="339" y="440"/>
                  <a:pt x="334" y="440"/>
                </a:cubicBezTo>
                <a:cubicBezTo>
                  <a:pt x="325" y="439"/>
                  <a:pt x="317" y="440"/>
                  <a:pt x="311" y="448"/>
                </a:cubicBezTo>
                <a:cubicBezTo>
                  <a:pt x="309" y="451"/>
                  <a:pt x="306" y="454"/>
                  <a:pt x="303" y="454"/>
                </a:cubicBezTo>
                <a:cubicBezTo>
                  <a:pt x="286" y="455"/>
                  <a:pt x="284" y="467"/>
                  <a:pt x="284" y="477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1" name="Freeform 14">
            <a:extLst>
              <a:ext uri="{FF2B5EF4-FFF2-40B4-BE49-F238E27FC236}">
                <a16:creationId xmlns:a16="http://schemas.microsoft.com/office/drawing/2014/main" id="{FD26BE12-E0B3-4C56-97BF-98739967AC57}"/>
              </a:ext>
            </a:extLst>
          </p:cNvPr>
          <p:cNvSpPr>
            <a:spLocks/>
          </p:cNvSpPr>
          <p:nvPr/>
        </p:nvSpPr>
        <p:spPr bwMode="auto">
          <a:xfrm>
            <a:off x="6027178" y="2027913"/>
            <a:ext cx="1297091" cy="987591"/>
          </a:xfrm>
          <a:custGeom>
            <a:avLst/>
            <a:gdLst>
              <a:gd name="T0" fmla="*/ 69 w 544"/>
              <a:gd name="T1" fmla="*/ 229 h 408"/>
              <a:gd name="T2" fmla="*/ 12 w 544"/>
              <a:gd name="T3" fmla="*/ 208 h 408"/>
              <a:gd name="T4" fmla="*/ 9 w 544"/>
              <a:gd name="T5" fmla="*/ 190 h 408"/>
              <a:gd name="T6" fmla="*/ 35 w 544"/>
              <a:gd name="T7" fmla="*/ 183 h 408"/>
              <a:gd name="T8" fmla="*/ 74 w 544"/>
              <a:gd name="T9" fmla="*/ 192 h 408"/>
              <a:gd name="T10" fmla="*/ 107 w 544"/>
              <a:gd name="T11" fmla="*/ 152 h 408"/>
              <a:gd name="T12" fmla="*/ 109 w 544"/>
              <a:gd name="T13" fmla="*/ 125 h 408"/>
              <a:gd name="T14" fmla="*/ 94 w 544"/>
              <a:gd name="T15" fmla="*/ 102 h 408"/>
              <a:gd name="T16" fmla="*/ 145 w 544"/>
              <a:gd name="T17" fmla="*/ 79 h 408"/>
              <a:gd name="T18" fmla="*/ 197 w 544"/>
              <a:gd name="T19" fmla="*/ 80 h 408"/>
              <a:gd name="T20" fmla="*/ 240 w 544"/>
              <a:gd name="T21" fmla="*/ 71 h 408"/>
              <a:gd name="T22" fmla="*/ 307 w 544"/>
              <a:gd name="T23" fmla="*/ 63 h 408"/>
              <a:gd name="T24" fmla="*/ 349 w 544"/>
              <a:gd name="T25" fmla="*/ 35 h 408"/>
              <a:gd name="T26" fmla="*/ 366 w 544"/>
              <a:gd name="T27" fmla="*/ 5 h 408"/>
              <a:gd name="T28" fmla="*/ 399 w 544"/>
              <a:gd name="T29" fmla="*/ 15 h 408"/>
              <a:gd name="T30" fmla="*/ 454 w 544"/>
              <a:gd name="T31" fmla="*/ 56 h 408"/>
              <a:gd name="T32" fmla="*/ 483 w 544"/>
              <a:gd name="T33" fmla="*/ 61 h 408"/>
              <a:gd name="T34" fmla="*/ 502 w 544"/>
              <a:gd name="T35" fmla="*/ 89 h 408"/>
              <a:gd name="T36" fmla="*/ 521 w 544"/>
              <a:gd name="T37" fmla="*/ 145 h 408"/>
              <a:gd name="T38" fmla="*/ 536 w 544"/>
              <a:gd name="T39" fmla="*/ 190 h 408"/>
              <a:gd name="T40" fmla="*/ 522 w 544"/>
              <a:gd name="T41" fmla="*/ 217 h 408"/>
              <a:gd name="T42" fmla="*/ 496 w 544"/>
              <a:gd name="T43" fmla="*/ 250 h 408"/>
              <a:gd name="T44" fmla="*/ 467 w 544"/>
              <a:gd name="T45" fmla="*/ 305 h 408"/>
              <a:gd name="T46" fmla="*/ 432 w 544"/>
              <a:gd name="T47" fmla="*/ 338 h 408"/>
              <a:gd name="T48" fmla="*/ 459 w 544"/>
              <a:gd name="T49" fmla="*/ 393 h 408"/>
              <a:gd name="T50" fmla="*/ 446 w 544"/>
              <a:gd name="T51" fmla="*/ 398 h 408"/>
              <a:gd name="T52" fmla="*/ 376 w 544"/>
              <a:gd name="T53" fmla="*/ 393 h 408"/>
              <a:gd name="T54" fmla="*/ 331 w 544"/>
              <a:gd name="T55" fmla="*/ 374 h 408"/>
              <a:gd name="T56" fmla="*/ 293 w 544"/>
              <a:gd name="T57" fmla="*/ 355 h 408"/>
              <a:gd name="T58" fmla="*/ 239 w 544"/>
              <a:gd name="T59" fmla="*/ 325 h 408"/>
              <a:gd name="T60" fmla="*/ 211 w 544"/>
              <a:gd name="T61" fmla="*/ 294 h 408"/>
              <a:gd name="T62" fmla="*/ 160 w 544"/>
              <a:gd name="T63" fmla="*/ 271 h 408"/>
              <a:gd name="T64" fmla="*/ 127 w 544"/>
              <a:gd name="T65" fmla="*/ 274 h 408"/>
              <a:gd name="T66" fmla="*/ 115 w 544"/>
              <a:gd name="T67" fmla="*/ 256 h 408"/>
              <a:gd name="T68" fmla="*/ 88 w 544"/>
              <a:gd name="T69" fmla="*/ 225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44" h="408">
                <a:moveTo>
                  <a:pt x="88" y="225"/>
                </a:moveTo>
                <a:cubicBezTo>
                  <a:pt x="81" y="224"/>
                  <a:pt x="75" y="226"/>
                  <a:pt x="69" y="229"/>
                </a:cubicBezTo>
                <a:cubicBezTo>
                  <a:pt x="52" y="239"/>
                  <a:pt x="35" y="238"/>
                  <a:pt x="25" y="227"/>
                </a:cubicBezTo>
                <a:cubicBezTo>
                  <a:pt x="20" y="222"/>
                  <a:pt x="16" y="214"/>
                  <a:pt x="12" y="208"/>
                </a:cubicBezTo>
                <a:cubicBezTo>
                  <a:pt x="9" y="204"/>
                  <a:pt x="7" y="199"/>
                  <a:pt x="5" y="196"/>
                </a:cubicBezTo>
                <a:cubicBezTo>
                  <a:pt x="0" y="189"/>
                  <a:pt x="5" y="189"/>
                  <a:pt x="9" y="190"/>
                </a:cubicBezTo>
                <a:cubicBezTo>
                  <a:pt x="16" y="191"/>
                  <a:pt x="23" y="192"/>
                  <a:pt x="28" y="185"/>
                </a:cubicBezTo>
                <a:cubicBezTo>
                  <a:pt x="30" y="182"/>
                  <a:pt x="33" y="181"/>
                  <a:pt x="35" y="183"/>
                </a:cubicBezTo>
                <a:cubicBezTo>
                  <a:pt x="45" y="188"/>
                  <a:pt x="59" y="180"/>
                  <a:pt x="67" y="192"/>
                </a:cubicBezTo>
                <a:cubicBezTo>
                  <a:pt x="68" y="194"/>
                  <a:pt x="72" y="193"/>
                  <a:pt x="74" y="192"/>
                </a:cubicBezTo>
                <a:cubicBezTo>
                  <a:pt x="83" y="184"/>
                  <a:pt x="94" y="179"/>
                  <a:pt x="102" y="170"/>
                </a:cubicBezTo>
                <a:cubicBezTo>
                  <a:pt x="106" y="164"/>
                  <a:pt x="111" y="159"/>
                  <a:pt x="107" y="152"/>
                </a:cubicBezTo>
                <a:cubicBezTo>
                  <a:pt x="104" y="144"/>
                  <a:pt x="113" y="143"/>
                  <a:pt x="115" y="138"/>
                </a:cubicBezTo>
                <a:cubicBezTo>
                  <a:pt x="119" y="129"/>
                  <a:pt x="118" y="126"/>
                  <a:pt x="109" y="125"/>
                </a:cubicBezTo>
                <a:cubicBezTo>
                  <a:pt x="106" y="124"/>
                  <a:pt x="102" y="125"/>
                  <a:pt x="99" y="124"/>
                </a:cubicBezTo>
                <a:cubicBezTo>
                  <a:pt x="91" y="121"/>
                  <a:pt x="84" y="110"/>
                  <a:pt x="94" y="102"/>
                </a:cubicBezTo>
                <a:cubicBezTo>
                  <a:pt x="101" y="97"/>
                  <a:pt x="106" y="92"/>
                  <a:pt x="115" y="93"/>
                </a:cubicBezTo>
                <a:cubicBezTo>
                  <a:pt x="128" y="95"/>
                  <a:pt x="139" y="91"/>
                  <a:pt x="145" y="79"/>
                </a:cubicBezTo>
                <a:cubicBezTo>
                  <a:pt x="151" y="69"/>
                  <a:pt x="160" y="68"/>
                  <a:pt x="169" y="70"/>
                </a:cubicBezTo>
                <a:cubicBezTo>
                  <a:pt x="179" y="73"/>
                  <a:pt x="188" y="76"/>
                  <a:pt x="197" y="80"/>
                </a:cubicBezTo>
                <a:cubicBezTo>
                  <a:pt x="205" y="84"/>
                  <a:pt x="210" y="83"/>
                  <a:pt x="215" y="77"/>
                </a:cubicBezTo>
                <a:cubicBezTo>
                  <a:pt x="222" y="69"/>
                  <a:pt x="229" y="63"/>
                  <a:pt x="240" y="71"/>
                </a:cubicBezTo>
                <a:cubicBezTo>
                  <a:pt x="257" y="68"/>
                  <a:pt x="273" y="83"/>
                  <a:pt x="292" y="74"/>
                </a:cubicBezTo>
                <a:cubicBezTo>
                  <a:pt x="298" y="71"/>
                  <a:pt x="304" y="69"/>
                  <a:pt x="307" y="63"/>
                </a:cubicBezTo>
                <a:cubicBezTo>
                  <a:pt x="313" y="51"/>
                  <a:pt x="322" y="43"/>
                  <a:pt x="337" y="45"/>
                </a:cubicBezTo>
                <a:cubicBezTo>
                  <a:pt x="344" y="46"/>
                  <a:pt x="348" y="43"/>
                  <a:pt x="349" y="35"/>
                </a:cubicBezTo>
                <a:cubicBezTo>
                  <a:pt x="349" y="27"/>
                  <a:pt x="351" y="19"/>
                  <a:pt x="352" y="12"/>
                </a:cubicBezTo>
                <a:cubicBezTo>
                  <a:pt x="355" y="2"/>
                  <a:pt x="359" y="0"/>
                  <a:pt x="366" y="5"/>
                </a:cubicBezTo>
                <a:cubicBezTo>
                  <a:pt x="373" y="10"/>
                  <a:pt x="379" y="16"/>
                  <a:pt x="389" y="11"/>
                </a:cubicBezTo>
                <a:cubicBezTo>
                  <a:pt x="391" y="9"/>
                  <a:pt x="396" y="13"/>
                  <a:pt x="399" y="15"/>
                </a:cubicBezTo>
                <a:cubicBezTo>
                  <a:pt x="408" y="22"/>
                  <a:pt x="417" y="29"/>
                  <a:pt x="425" y="37"/>
                </a:cubicBezTo>
                <a:cubicBezTo>
                  <a:pt x="434" y="45"/>
                  <a:pt x="447" y="46"/>
                  <a:pt x="454" y="56"/>
                </a:cubicBezTo>
                <a:cubicBezTo>
                  <a:pt x="455" y="58"/>
                  <a:pt x="460" y="57"/>
                  <a:pt x="462" y="56"/>
                </a:cubicBezTo>
                <a:cubicBezTo>
                  <a:pt x="471" y="50"/>
                  <a:pt x="477" y="58"/>
                  <a:pt x="483" y="61"/>
                </a:cubicBezTo>
                <a:cubicBezTo>
                  <a:pt x="484" y="62"/>
                  <a:pt x="486" y="63"/>
                  <a:pt x="486" y="64"/>
                </a:cubicBezTo>
                <a:cubicBezTo>
                  <a:pt x="482" y="78"/>
                  <a:pt x="495" y="81"/>
                  <a:pt x="502" y="89"/>
                </a:cubicBezTo>
                <a:cubicBezTo>
                  <a:pt x="508" y="96"/>
                  <a:pt x="512" y="103"/>
                  <a:pt x="513" y="113"/>
                </a:cubicBezTo>
                <a:cubicBezTo>
                  <a:pt x="513" y="124"/>
                  <a:pt x="513" y="136"/>
                  <a:pt x="521" y="145"/>
                </a:cubicBezTo>
                <a:cubicBezTo>
                  <a:pt x="523" y="148"/>
                  <a:pt x="521" y="151"/>
                  <a:pt x="521" y="154"/>
                </a:cubicBezTo>
                <a:cubicBezTo>
                  <a:pt x="523" y="167"/>
                  <a:pt x="521" y="182"/>
                  <a:pt x="536" y="190"/>
                </a:cubicBezTo>
                <a:cubicBezTo>
                  <a:pt x="541" y="193"/>
                  <a:pt x="544" y="201"/>
                  <a:pt x="542" y="207"/>
                </a:cubicBezTo>
                <a:cubicBezTo>
                  <a:pt x="540" y="214"/>
                  <a:pt x="531" y="219"/>
                  <a:pt x="522" y="217"/>
                </a:cubicBezTo>
                <a:cubicBezTo>
                  <a:pt x="519" y="217"/>
                  <a:pt x="515" y="217"/>
                  <a:pt x="513" y="220"/>
                </a:cubicBezTo>
                <a:cubicBezTo>
                  <a:pt x="506" y="229"/>
                  <a:pt x="496" y="237"/>
                  <a:pt x="496" y="250"/>
                </a:cubicBezTo>
                <a:cubicBezTo>
                  <a:pt x="496" y="258"/>
                  <a:pt x="492" y="264"/>
                  <a:pt x="486" y="269"/>
                </a:cubicBezTo>
                <a:cubicBezTo>
                  <a:pt x="474" y="278"/>
                  <a:pt x="468" y="290"/>
                  <a:pt x="467" y="305"/>
                </a:cubicBezTo>
                <a:cubicBezTo>
                  <a:pt x="467" y="309"/>
                  <a:pt x="466" y="312"/>
                  <a:pt x="461" y="312"/>
                </a:cubicBezTo>
                <a:cubicBezTo>
                  <a:pt x="445" y="314"/>
                  <a:pt x="441" y="329"/>
                  <a:pt x="432" y="338"/>
                </a:cubicBezTo>
                <a:cubicBezTo>
                  <a:pt x="427" y="343"/>
                  <a:pt x="429" y="350"/>
                  <a:pt x="439" y="355"/>
                </a:cubicBezTo>
                <a:cubicBezTo>
                  <a:pt x="456" y="363"/>
                  <a:pt x="451" y="381"/>
                  <a:pt x="459" y="393"/>
                </a:cubicBezTo>
                <a:cubicBezTo>
                  <a:pt x="460" y="395"/>
                  <a:pt x="456" y="400"/>
                  <a:pt x="451" y="400"/>
                </a:cubicBezTo>
                <a:cubicBezTo>
                  <a:pt x="450" y="400"/>
                  <a:pt x="448" y="399"/>
                  <a:pt x="446" y="398"/>
                </a:cubicBezTo>
                <a:cubicBezTo>
                  <a:pt x="431" y="390"/>
                  <a:pt x="418" y="391"/>
                  <a:pt x="403" y="399"/>
                </a:cubicBezTo>
                <a:cubicBezTo>
                  <a:pt x="388" y="408"/>
                  <a:pt x="386" y="408"/>
                  <a:pt x="376" y="393"/>
                </a:cubicBezTo>
                <a:cubicBezTo>
                  <a:pt x="371" y="384"/>
                  <a:pt x="365" y="380"/>
                  <a:pt x="355" y="381"/>
                </a:cubicBezTo>
                <a:cubicBezTo>
                  <a:pt x="347" y="382"/>
                  <a:pt x="339" y="378"/>
                  <a:pt x="331" y="374"/>
                </a:cubicBezTo>
                <a:cubicBezTo>
                  <a:pt x="321" y="370"/>
                  <a:pt x="312" y="365"/>
                  <a:pt x="301" y="365"/>
                </a:cubicBezTo>
                <a:cubicBezTo>
                  <a:pt x="294" y="365"/>
                  <a:pt x="292" y="362"/>
                  <a:pt x="293" y="355"/>
                </a:cubicBezTo>
                <a:cubicBezTo>
                  <a:pt x="295" y="344"/>
                  <a:pt x="291" y="334"/>
                  <a:pt x="281" y="332"/>
                </a:cubicBezTo>
                <a:cubicBezTo>
                  <a:pt x="267" y="329"/>
                  <a:pt x="255" y="317"/>
                  <a:pt x="239" y="325"/>
                </a:cubicBezTo>
                <a:cubicBezTo>
                  <a:pt x="236" y="326"/>
                  <a:pt x="232" y="324"/>
                  <a:pt x="231" y="321"/>
                </a:cubicBezTo>
                <a:cubicBezTo>
                  <a:pt x="226" y="310"/>
                  <a:pt x="216" y="304"/>
                  <a:pt x="211" y="294"/>
                </a:cubicBezTo>
                <a:cubicBezTo>
                  <a:pt x="207" y="282"/>
                  <a:pt x="195" y="276"/>
                  <a:pt x="186" y="267"/>
                </a:cubicBezTo>
                <a:cubicBezTo>
                  <a:pt x="179" y="261"/>
                  <a:pt x="168" y="268"/>
                  <a:pt x="160" y="271"/>
                </a:cubicBezTo>
                <a:cubicBezTo>
                  <a:pt x="156" y="273"/>
                  <a:pt x="153" y="276"/>
                  <a:pt x="150" y="278"/>
                </a:cubicBezTo>
                <a:cubicBezTo>
                  <a:pt x="137" y="286"/>
                  <a:pt x="137" y="286"/>
                  <a:pt x="127" y="274"/>
                </a:cubicBezTo>
                <a:cubicBezTo>
                  <a:pt x="124" y="271"/>
                  <a:pt x="121" y="269"/>
                  <a:pt x="118" y="267"/>
                </a:cubicBezTo>
                <a:cubicBezTo>
                  <a:pt x="113" y="265"/>
                  <a:pt x="113" y="261"/>
                  <a:pt x="115" y="256"/>
                </a:cubicBezTo>
                <a:cubicBezTo>
                  <a:pt x="120" y="239"/>
                  <a:pt x="112" y="227"/>
                  <a:pt x="95" y="225"/>
                </a:cubicBezTo>
                <a:cubicBezTo>
                  <a:pt x="93" y="225"/>
                  <a:pt x="90" y="225"/>
                  <a:pt x="88" y="225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2" name="Freeform 15">
            <a:extLst>
              <a:ext uri="{FF2B5EF4-FFF2-40B4-BE49-F238E27FC236}">
                <a16:creationId xmlns:a16="http://schemas.microsoft.com/office/drawing/2014/main" id="{C4F5B065-903C-4CF0-83A6-81A940E111D0}"/>
              </a:ext>
            </a:extLst>
          </p:cNvPr>
          <p:cNvSpPr>
            <a:spLocks/>
          </p:cNvSpPr>
          <p:nvPr/>
        </p:nvSpPr>
        <p:spPr bwMode="auto">
          <a:xfrm>
            <a:off x="5552904" y="2563665"/>
            <a:ext cx="1546959" cy="810084"/>
          </a:xfrm>
          <a:custGeom>
            <a:avLst/>
            <a:gdLst>
              <a:gd name="T0" fmla="*/ 588 w 649"/>
              <a:gd name="T1" fmla="*/ 240 h 335"/>
              <a:gd name="T2" fmla="*/ 549 w 649"/>
              <a:gd name="T3" fmla="*/ 277 h 335"/>
              <a:gd name="T4" fmla="*/ 528 w 649"/>
              <a:gd name="T5" fmla="*/ 269 h 335"/>
              <a:gd name="T6" fmla="*/ 492 w 649"/>
              <a:gd name="T7" fmla="*/ 305 h 335"/>
              <a:gd name="T8" fmla="*/ 447 w 649"/>
              <a:gd name="T9" fmla="*/ 310 h 335"/>
              <a:gd name="T10" fmla="*/ 414 w 649"/>
              <a:gd name="T11" fmla="*/ 290 h 335"/>
              <a:gd name="T12" fmla="*/ 399 w 649"/>
              <a:gd name="T13" fmla="*/ 306 h 335"/>
              <a:gd name="T14" fmla="*/ 361 w 649"/>
              <a:gd name="T15" fmla="*/ 321 h 335"/>
              <a:gd name="T16" fmla="*/ 304 w 649"/>
              <a:gd name="T17" fmla="*/ 327 h 335"/>
              <a:gd name="T18" fmla="*/ 250 w 649"/>
              <a:gd name="T19" fmla="*/ 269 h 335"/>
              <a:gd name="T20" fmla="*/ 193 w 649"/>
              <a:gd name="T21" fmla="*/ 239 h 335"/>
              <a:gd name="T22" fmla="*/ 152 w 649"/>
              <a:gd name="T23" fmla="*/ 219 h 335"/>
              <a:gd name="T24" fmla="*/ 109 w 649"/>
              <a:gd name="T25" fmla="*/ 213 h 335"/>
              <a:gd name="T26" fmla="*/ 89 w 649"/>
              <a:gd name="T27" fmla="*/ 187 h 335"/>
              <a:gd name="T28" fmla="*/ 35 w 649"/>
              <a:gd name="T29" fmla="*/ 155 h 335"/>
              <a:gd name="T30" fmla="*/ 4 w 649"/>
              <a:gd name="T31" fmla="*/ 127 h 335"/>
              <a:gd name="T32" fmla="*/ 1 w 649"/>
              <a:gd name="T33" fmla="*/ 121 h 335"/>
              <a:gd name="T34" fmla="*/ 53 w 649"/>
              <a:gd name="T35" fmla="*/ 71 h 335"/>
              <a:gd name="T36" fmla="*/ 96 w 649"/>
              <a:gd name="T37" fmla="*/ 51 h 335"/>
              <a:gd name="T38" fmla="*/ 113 w 649"/>
              <a:gd name="T39" fmla="*/ 35 h 335"/>
              <a:gd name="T40" fmla="*/ 179 w 649"/>
              <a:gd name="T41" fmla="*/ 44 h 335"/>
              <a:gd name="T42" fmla="*/ 202 w 649"/>
              <a:gd name="T43" fmla="*/ 5 h 335"/>
              <a:gd name="T44" fmla="*/ 217 w 649"/>
              <a:gd name="T45" fmla="*/ 12 h 335"/>
              <a:gd name="T46" fmla="*/ 280 w 649"/>
              <a:gd name="T47" fmla="*/ 17 h 335"/>
              <a:gd name="T48" fmla="*/ 305 w 649"/>
              <a:gd name="T49" fmla="*/ 30 h 335"/>
              <a:gd name="T50" fmla="*/ 318 w 649"/>
              <a:gd name="T51" fmla="*/ 63 h 335"/>
              <a:gd name="T52" fmla="*/ 363 w 649"/>
              <a:gd name="T53" fmla="*/ 60 h 335"/>
              <a:gd name="T54" fmla="*/ 400 w 649"/>
              <a:gd name="T55" fmla="*/ 78 h 335"/>
              <a:gd name="T56" fmla="*/ 441 w 649"/>
              <a:gd name="T57" fmla="*/ 116 h 335"/>
              <a:gd name="T58" fmla="*/ 472 w 649"/>
              <a:gd name="T59" fmla="*/ 123 h 335"/>
              <a:gd name="T60" fmla="*/ 495 w 649"/>
              <a:gd name="T61" fmla="*/ 155 h 335"/>
              <a:gd name="T62" fmla="*/ 567 w 649"/>
              <a:gd name="T63" fmla="*/ 180 h 335"/>
              <a:gd name="T64" fmla="*/ 644 w 649"/>
              <a:gd name="T65" fmla="*/ 191 h 335"/>
              <a:gd name="T66" fmla="*/ 627 w 649"/>
              <a:gd name="T67" fmla="*/ 220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49" h="335">
                <a:moveTo>
                  <a:pt x="613" y="228"/>
                </a:moveTo>
                <a:cubicBezTo>
                  <a:pt x="604" y="229"/>
                  <a:pt x="595" y="230"/>
                  <a:pt x="588" y="240"/>
                </a:cubicBezTo>
                <a:cubicBezTo>
                  <a:pt x="580" y="251"/>
                  <a:pt x="567" y="258"/>
                  <a:pt x="561" y="271"/>
                </a:cubicBezTo>
                <a:cubicBezTo>
                  <a:pt x="559" y="276"/>
                  <a:pt x="553" y="275"/>
                  <a:pt x="549" y="277"/>
                </a:cubicBezTo>
                <a:cubicBezTo>
                  <a:pt x="542" y="280"/>
                  <a:pt x="541" y="275"/>
                  <a:pt x="538" y="271"/>
                </a:cubicBezTo>
                <a:cubicBezTo>
                  <a:pt x="536" y="267"/>
                  <a:pt x="532" y="268"/>
                  <a:pt x="528" y="269"/>
                </a:cubicBezTo>
                <a:cubicBezTo>
                  <a:pt x="521" y="272"/>
                  <a:pt x="514" y="276"/>
                  <a:pt x="511" y="283"/>
                </a:cubicBezTo>
                <a:cubicBezTo>
                  <a:pt x="506" y="292"/>
                  <a:pt x="497" y="297"/>
                  <a:pt x="492" y="305"/>
                </a:cubicBezTo>
                <a:cubicBezTo>
                  <a:pt x="486" y="314"/>
                  <a:pt x="479" y="318"/>
                  <a:pt x="469" y="319"/>
                </a:cubicBezTo>
                <a:cubicBezTo>
                  <a:pt x="459" y="321"/>
                  <a:pt x="453" y="317"/>
                  <a:pt x="447" y="310"/>
                </a:cubicBezTo>
                <a:cubicBezTo>
                  <a:pt x="446" y="308"/>
                  <a:pt x="444" y="306"/>
                  <a:pt x="442" y="306"/>
                </a:cubicBezTo>
                <a:cubicBezTo>
                  <a:pt x="430" y="305"/>
                  <a:pt x="422" y="299"/>
                  <a:pt x="414" y="290"/>
                </a:cubicBezTo>
                <a:cubicBezTo>
                  <a:pt x="410" y="286"/>
                  <a:pt x="405" y="288"/>
                  <a:pt x="402" y="294"/>
                </a:cubicBezTo>
                <a:cubicBezTo>
                  <a:pt x="400" y="298"/>
                  <a:pt x="400" y="302"/>
                  <a:pt x="399" y="306"/>
                </a:cubicBezTo>
                <a:cubicBezTo>
                  <a:pt x="397" y="320"/>
                  <a:pt x="392" y="324"/>
                  <a:pt x="378" y="324"/>
                </a:cubicBezTo>
                <a:cubicBezTo>
                  <a:pt x="372" y="324"/>
                  <a:pt x="366" y="324"/>
                  <a:pt x="361" y="321"/>
                </a:cubicBezTo>
                <a:cubicBezTo>
                  <a:pt x="349" y="315"/>
                  <a:pt x="339" y="317"/>
                  <a:pt x="329" y="326"/>
                </a:cubicBezTo>
                <a:cubicBezTo>
                  <a:pt x="321" y="335"/>
                  <a:pt x="314" y="335"/>
                  <a:pt x="304" y="327"/>
                </a:cubicBezTo>
                <a:cubicBezTo>
                  <a:pt x="298" y="323"/>
                  <a:pt x="293" y="317"/>
                  <a:pt x="289" y="310"/>
                </a:cubicBezTo>
                <a:cubicBezTo>
                  <a:pt x="280" y="294"/>
                  <a:pt x="266" y="280"/>
                  <a:pt x="250" y="269"/>
                </a:cubicBezTo>
                <a:cubicBezTo>
                  <a:pt x="249" y="269"/>
                  <a:pt x="247" y="268"/>
                  <a:pt x="246" y="268"/>
                </a:cubicBezTo>
                <a:cubicBezTo>
                  <a:pt x="221" y="271"/>
                  <a:pt x="210" y="250"/>
                  <a:pt x="193" y="239"/>
                </a:cubicBezTo>
                <a:cubicBezTo>
                  <a:pt x="187" y="235"/>
                  <a:pt x="182" y="229"/>
                  <a:pt x="177" y="224"/>
                </a:cubicBezTo>
                <a:cubicBezTo>
                  <a:pt x="169" y="218"/>
                  <a:pt x="162" y="214"/>
                  <a:pt x="152" y="219"/>
                </a:cubicBezTo>
                <a:cubicBezTo>
                  <a:pt x="147" y="222"/>
                  <a:pt x="139" y="219"/>
                  <a:pt x="134" y="221"/>
                </a:cubicBezTo>
                <a:cubicBezTo>
                  <a:pt x="122" y="228"/>
                  <a:pt x="115" y="226"/>
                  <a:pt x="109" y="213"/>
                </a:cubicBezTo>
                <a:cubicBezTo>
                  <a:pt x="107" y="208"/>
                  <a:pt x="101" y="207"/>
                  <a:pt x="96" y="205"/>
                </a:cubicBezTo>
                <a:cubicBezTo>
                  <a:pt x="88" y="201"/>
                  <a:pt x="86" y="196"/>
                  <a:pt x="89" y="187"/>
                </a:cubicBezTo>
                <a:cubicBezTo>
                  <a:pt x="94" y="174"/>
                  <a:pt x="88" y="167"/>
                  <a:pt x="75" y="172"/>
                </a:cubicBezTo>
                <a:cubicBezTo>
                  <a:pt x="56" y="178"/>
                  <a:pt x="45" y="167"/>
                  <a:pt x="35" y="155"/>
                </a:cubicBezTo>
                <a:cubicBezTo>
                  <a:pt x="31" y="151"/>
                  <a:pt x="28" y="146"/>
                  <a:pt x="26" y="140"/>
                </a:cubicBezTo>
                <a:cubicBezTo>
                  <a:pt x="23" y="130"/>
                  <a:pt x="18" y="121"/>
                  <a:pt x="4" y="127"/>
                </a:cubicBezTo>
                <a:cubicBezTo>
                  <a:pt x="2" y="128"/>
                  <a:pt x="1" y="126"/>
                  <a:pt x="0" y="124"/>
                </a:cubicBezTo>
                <a:cubicBezTo>
                  <a:pt x="0" y="123"/>
                  <a:pt x="0" y="121"/>
                  <a:pt x="1" y="121"/>
                </a:cubicBezTo>
                <a:cubicBezTo>
                  <a:pt x="22" y="112"/>
                  <a:pt x="28" y="90"/>
                  <a:pt x="41" y="73"/>
                </a:cubicBezTo>
                <a:cubicBezTo>
                  <a:pt x="44" y="69"/>
                  <a:pt x="48" y="67"/>
                  <a:pt x="53" y="71"/>
                </a:cubicBezTo>
                <a:cubicBezTo>
                  <a:pt x="60" y="76"/>
                  <a:pt x="66" y="74"/>
                  <a:pt x="72" y="69"/>
                </a:cubicBezTo>
                <a:cubicBezTo>
                  <a:pt x="80" y="62"/>
                  <a:pt x="85" y="53"/>
                  <a:pt x="96" y="51"/>
                </a:cubicBezTo>
                <a:cubicBezTo>
                  <a:pt x="100" y="50"/>
                  <a:pt x="98" y="44"/>
                  <a:pt x="100" y="40"/>
                </a:cubicBezTo>
                <a:cubicBezTo>
                  <a:pt x="102" y="35"/>
                  <a:pt x="106" y="32"/>
                  <a:pt x="113" y="35"/>
                </a:cubicBezTo>
                <a:cubicBezTo>
                  <a:pt x="125" y="41"/>
                  <a:pt x="138" y="42"/>
                  <a:pt x="150" y="49"/>
                </a:cubicBezTo>
                <a:cubicBezTo>
                  <a:pt x="160" y="55"/>
                  <a:pt x="170" y="52"/>
                  <a:pt x="179" y="44"/>
                </a:cubicBezTo>
                <a:cubicBezTo>
                  <a:pt x="188" y="37"/>
                  <a:pt x="196" y="30"/>
                  <a:pt x="197" y="17"/>
                </a:cubicBezTo>
                <a:cubicBezTo>
                  <a:pt x="198" y="13"/>
                  <a:pt x="198" y="8"/>
                  <a:pt x="202" y="5"/>
                </a:cubicBezTo>
                <a:cubicBezTo>
                  <a:pt x="205" y="3"/>
                  <a:pt x="208" y="0"/>
                  <a:pt x="211" y="4"/>
                </a:cubicBezTo>
                <a:cubicBezTo>
                  <a:pt x="213" y="7"/>
                  <a:pt x="215" y="10"/>
                  <a:pt x="217" y="12"/>
                </a:cubicBezTo>
                <a:cubicBezTo>
                  <a:pt x="226" y="23"/>
                  <a:pt x="238" y="27"/>
                  <a:pt x="251" y="23"/>
                </a:cubicBezTo>
                <a:cubicBezTo>
                  <a:pt x="261" y="21"/>
                  <a:pt x="271" y="25"/>
                  <a:pt x="280" y="17"/>
                </a:cubicBezTo>
                <a:cubicBezTo>
                  <a:pt x="283" y="14"/>
                  <a:pt x="291" y="16"/>
                  <a:pt x="296" y="16"/>
                </a:cubicBezTo>
                <a:cubicBezTo>
                  <a:pt x="303" y="17"/>
                  <a:pt x="308" y="24"/>
                  <a:pt x="305" y="30"/>
                </a:cubicBezTo>
                <a:cubicBezTo>
                  <a:pt x="299" y="43"/>
                  <a:pt x="303" y="51"/>
                  <a:pt x="314" y="57"/>
                </a:cubicBezTo>
                <a:cubicBezTo>
                  <a:pt x="316" y="58"/>
                  <a:pt x="317" y="61"/>
                  <a:pt x="318" y="63"/>
                </a:cubicBezTo>
                <a:cubicBezTo>
                  <a:pt x="326" y="77"/>
                  <a:pt x="326" y="77"/>
                  <a:pt x="340" y="73"/>
                </a:cubicBezTo>
                <a:cubicBezTo>
                  <a:pt x="349" y="70"/>
                  <a:pt x="355" y="64"/>
                  <a:pt x="363" y="60"/>
                </a:cubicBezTo>
                <a:cubicBezTo>
                  <a:pt x="374" y="54"/>
                  <a:pt x="378" y="54"/>
                  <a:pt x="388" y="63"/>
                </a:cubicBezTo>
                <a:cubicBezTo>
                  <a:pt x="393" y="68"/>
                  <a:pt x="398" y="72"/>
                  <a:pt x="400" y="78"/>
                </a:cubicBezTo>
                <a:cubicBezTo>
                  <a:pt x="405" y="92"/>
                  <a:pt x="418" y="99"/>
                  <a:pt x="424" y="113"/>
                </a:cubicBezTo>
                <a:cubicBezTo>
                  <a:pt x="426" y="119"/>
                  <a:pt x="434" y="122"/>
                  <a:pt x="441" y="116"/>
                </a:cubicBezTo>
                <a:cubicBezTo>
                  <a:pt x="449" y="110"/>
                  <a:pt x="457" y="111"/>
                  <a:pt x="464" y="119"/>
                </a:cubicBezTo>
                <a:cubicBezTo>
                  <a:pt x="466" y="121"/>
                  <a:pt x="468" y="124"/>
                  <a:pt x="472" y="123"/>
                </a:cubicBezTo>
                <a:cubicBezTo>
                  <a:pt x="482" y="122"/>
                  <a:pt x="483" y="125"/>
                  <a:pt x="480" y="134"/>
                </a:cubicBezTo>
                <a:cubicBezTo>
                  <a:pt x="477" y="144"/>
                  <a:pt x="484" y="154"/>
                  <a:pt x="495" y="155"/>
                </a:cubicBezTo>
                <a:cubicBezTo>
                  <a:pt x="515" y="157"/>
                  <a:pt x="533" y="168"/>
                  <a:pt x="552" y="171"/>
                </a:cubicBezTo>
                <a:cubicBezTo>
                  <a:pt x="558" y="172"/>
                  <a:pt x="563" y="173"/>
                  <a:pt x="567" y="180"/>
                </a:cubicBezTo>
                <a:cubicBezTo>
                  <a:pt x="579" y="200"/>
                  <a:pt x="592" y="199"/>
                  <a:pt x="614" y="187"/>
                </a:cubicBezTo>
                <a:cubicBezTo>
                  <a:pt x="626" y="181"/>
                  <a:pt x="635" y="181"/>
                  <a:pt x="644" y="191"/>
                </a:cubicBezTo>
                <a:cubicBezTo>
                  <a:pt x="646" y="194"/>
                  <a:pt x="649" y="198"/>
                  <a:pt x="642" y="200"/>
                </a:cubicBezTo>
                <a:cubicBezTo>
                  <a:pt x="631" y="202"/>
                  <a:pt x="627" y="210"/>
                  <a:pt x="627" y="220"/>
                </a:cubicBezTo>
                <a:cubicBezTo>
                  <a:pt x="626" y="230"/>
                  <a:pt x="622" y="232"/>
                  <a:pt x="613" y="228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3" name="Freeform 16">
            <a:extLst>
              <a:ext uri="{FF2B5EF4-FFF2-40B4-BE49-F238E27FC236}">
                <a16:creationId xmlns:a16="http://schemas.microsoft.com/office/drawing/2014/main" id="{59F41AF6-5C3E-4D71-9448-29047DE707FB}"/>
              </a:ext>
            </a:extLst>
          </p:cNvPr>
          <p:cNvSpPr>
            <a:spLocks/>
          </p:cNvSpPr>
          <p:nvPr/>
        </p:nvSpPr>
        <p:spPr bwMode="auto">
          <a:xfrm>
            <a:off x="6224526" y="1362028"/>
            <a:ext cx="1055820" cy="837809"/>
          </a:xfrm>
          <a:custGeom>
            <a:avLst/>
            <a:gdLst>
              <a:gd name="T0" fmla="*/ 39 w 444"/>
              <a:gd name="T1" fmla="*/ 58 h 348"/>
              <a:gd name="T2" fmla="*/ 62 w 444"/>
              <a:gd name="T3" fmla="*/ 44 h 348"/>
              <a:gd name="T4" fmla="*/ 57 w 444"/>
              <a:gd name="T5" fmla="*/ 24 h 348"/>
              <a:gd name="T6" fmla="*/ 84 w 444"/>
              <a:gd name="T7" fmla="*/ 51 h 348"/>
              <a:gd name="T8" fmla="*/ 138 w 444"/>
              <a:gd name="T9" fmla="*/ 49 h 348"/>
              <a:gd name="T10" fmla="*/ 183 w 444"/>
              <a:gd name="T11" fmla="*/ 49 h 348"/>
              <a:gd name="T12" fmla="*/ 205 w 444"/>
              <a:gd name="T13" fmla="*/ 5 h 348"/>
              <a:gd name="T14" fmla="*/ 248 w 444"/>
              <a:gd name="T15" fmla="*/ 8 h 348"/>
              <a:gd name="T16" fmla="*/ 281 w 444"/>
              <a:gd name="T17" fmla="*/ 19 h 348"/>
              <a:gd name="T18" fmla="*/ 332 w 444"/>
              <a:gd name="T19" fmla="*/ 18 h 348"/>
              <a:gd name="T20" fmla="*/ 347 w 444"/>
              <a:gd name="T21" fmla="*/ 40 h 348"/>
              <a:gd name="T22" fmla="*/ 398 w 444"/>
              <a:gd name="T23" fmla="*/ 103 h 348"/>
              <a:gd name="T24" fmla="*/ 381 w 444"/>
              <a:gd name="T25" fmla="*/ 172 h 348"/>
              <a:gd name="T26" fmla="*/ 415 w 444"/>
              <a:gd name="T27" fmla="*/ 201 h 348"/>
              <a:gd name="T28" fmla="*/ 441 w 444"/>
              <a:gd name="T29" fmla="*/ 259 h 348"/>
              <a:gd name="T30" fmla="*/ 420 w 444"/>
              <a:gd name="T31" fmla="*/ 285 h 348"/>
              <a:gd name="T32" fmla="*/ 407 w 444"/>
              <a:gd name="T33" fmla="*/ 316 h 348"/>
              <a:gd name="T34" fmla="*/ 379 w 444"/>
              <a:gd name="T35" fmla="*/ 320 h 348"/>
              <a:gd name="T36" fmla="*/ 337 w 444"/>
              <a:gd name="T37" fmla="*/ 291 h 348"/>
              <a:gd name="T38" fmla="*/ 309 w 444"/>
              <a:gd name="T39" fmla="*/ 277 h 348"/>
              <a:gd name="T40" fmla="*/ 271 w 444"/>
              <a:gd name="T41" fmla="*/ 268 h 348"/>
              <a:gd name="T42" fmla="*/ 239 w 444"/>
              <a:gd name="T43" fmla="*/ 313 h 348"/>
              <a:gd name="T44" fmla="*/ 180 w 444"/>
              <a:gd name="T45" fmla="*/ 340 h 348"/>
              <a:gd name="T46" fmla="*/ 129 w 444"/>
              <a:gd name="T47" fmla="*/ 343 h 348"/>
              <a:gd name="T48" fmla="*/ 85 w 444"/>
              <a:gd name="T49" fmla="*/ 336 h 348"/>
              <a:gd name="T50" fmla="*/ 61 w 444"/>
              <a:gd name="T51" fmla="*/ 303 h 348"/>
              <a:gd name="T52" fmla="*/ 30 w 444"/>
              <a:gd name="T53" fmla="*/ 241 h 348"/>
              <a:gd name="T54" fmla="*/ 29 w 444"/>
              <a:gd name="T55" fmla="*/ 208 h 348"/>
              <a:gd name="T56" fmla="*/ 61 w 444"/>
              <a:gd name="T57" fmla="*/ 183 h 348"/>
              <a:gd name="T58" fmla="*/ 87 w 444"/>
              <a:gd name="T59" fmla="*/ 125 h 348"/>
              <a:gd name="T60" fmla="*/ 87 w 444"/>
              <a:gd name="T61" fmla="*/ 90 h 348"/>
              <a:gd name="T62" fmla="*/ 19 w 444"/>
              <a:gd name="T63" fmla="*/ 65 h 348"/>
              <a:gd name="T64" fmla="*/ 0 w 444"/>
              <a:gd name="T65" fmla="*/ 56 h 348"/>
              <a:gd name="connsiteX0" fmla="*/ 315 w 9961"/>
              <a:gd name="connsiteY0" fmla="*/ 1526 h 9946"/>
              <a:gd name="connsiteX1" fmla="*/ 878 w 9961"/>
              <a:gd name="connsiteY1" fmla="*/ 1641 h 9946"/>
              <a:gd name="connsiteX2" fmla="*/ 1194 w 9961"/>
              <a:gd name="connsiteY2" fmla="*/ 1727 h 9946"/>
              <a:gd name="connsiteX3" fmla="*/ 1396 w 9961"/>
              <a:gd name="connsiteY3" fmla="*/ 1238 h 9946"/>
              <a:gd name="connsiteX4" fmla="*/ 1261 w 9961"/>
              <a:gd name="connsiteY4" fmla="*/ 951 h 9946"/>
              <a:gd name="connsiteX5" fmla="*/ 1284 w 9961"/>
              <a:gd name="connsiteY5" fmla="*/ 664 h 9946"/>
              <a:gd name="connsiteX6" fmla="*/ 1509 w 9961"/>
              <a:gd name="connsiteY6" fmla="*/ 750 h 9946"/>
              <a:gd name="connsiteX7" fmla="*/ 1892 w 9961"/>
              <a:gd name="connsiteY7" fmla="*/ 1440 h 9946"/>
              <a:gd name="connsiteX8" fmla="*/ 3018 w 9961"/>
              <a:gd name="connsiteY8" fmla="*/ 1526 h 9946"/>
              <a:gd name="connsiteX9" fmla="*/ 3108 w 9961"/>
              <a:gd name="connsiteY9" fmla="*/ 1382 h 9946"/>
              <a:gd name="connsiteX10" fmla="*/ 3491 w 9961"/>
              <a:gd name="connsiteY10" fmla="*/ 980 h 9946"/>
              <a:gd name="connsiteX11" fmla="*/ 4122 w 9961"/>
              <a:gd name="connsiteY11" fmla="*/ 1382 h 9946"/>
              <a:gd name="connsiteX12" fmla="*/ 4257 w 9961"/>
              <a:gd name="connsiteY12" fmla="*/ 577 h 9946"/>
              <a:gd name="connsiteX13" fmla="*/ 4617 w 9961"/>
              <a:gd name="connsiteY13" fmla="*/ 118 h 9946"/>
              <a:gd name="connsiteX14" fmla="*/ 5315 w 9961"/>
              <a:gd name="connsiteY14" fmla="*/ 60 h 9946"/>
              <a:gd name="connsiteX15" fmla="*/ 5586 w 9961"/>
              <a:gd name="connsiteY15" fmla="*/ 204 h 9946"/>
              <a:gd name="connsiteX16" fmla="*/ 5698 w 9961"/>
              <a:gd name="connsiteY16" fmla="*/ 463 h 9946"/>
              <a:gd name="connsiteX17" fmla="*/ 6329 w 9961"/>
              <a:gd name="connsiteY17" fmla="*/ 520 h 9946"/>
              <a:gd name="connsiteX18" fmla="*/ 7230 w 9961"/>
              <a:gd name="connsiteY18" fmla="*/ 3 h 9946"/>
              <a:gd name="connsiteX19" fmla="*/ 7477 w 9961"/>
              <a:gd name="connsiteY19" fmla="*/ 491 h 9946"/>
              <a:gd name="connsiteX20" fmla="*/ 7523 w 9961"/>
              <a:gd name="connsiteY20" fmla="*/ 779 h 9946"/>
              <a:gd name="connsiteX21" fmla="*/ 7815 w 9961"/>
              <a:gd name="connsiteY21" fmla="*/ 1123 h 9946"/>
              <a:gd name="connsiteX22" fmla="*/ 8874 w 9961"/>
              <a:gd name="connsiteY22" fmla="*/ 2158 h 9946"/>
              <a:gd name="connsiteX23" fmla="*/ 8964 w 9961"/>
              <a:gd name="connsiteY23" fmla="*/ 2934 h 9946"/>
              <a:gd name="connsiteX24" fmla="*/ 8604 w 9961"/>
              <a:gd name="connsiteY24" fmla="*/ 3796 h 9946"/>
              <a:gd name="connsiteX25" fmla="*/ 8581 w 9961"/>
              <a:gd name="connsiteY25" fmla="*/ 4917 h 9946"/>
              <a:gd name="connsiteX26" fmla="*/ 8739 w 9961"/>
              <a:gd name="connsiteY26" fmla="*/ 5204 h 9946"/>
              <a:gd name="connsiteX27" fmla="*/ 9347 w 9961"/>
              <a:gd name="connsiteY27" fmla="*/ 5750 h 9946"/>
              <a:gd name="connsiteX28" fmla="*/ 9955 w 9961"/>
              <a:gd name="connsiteY28" fmla="*/ 7129 h 9946"/>
              <a:gd name="connsiteX29" fmla="*/ 9932 w 9961"/>
              <a:gd name="connsiteY29" fmla="*/ 7417 h 9946"/>
              <a:gd name="connsiteX30" fmla="*/ 9752 w 9961"/>
              <a:gd name="connsiteY30" fmla="*/ 7733 h 9946"/>
              <a:gd name="connsiteX31" fmla="*/ 9459 w 9961"/>
              <a:gd name="connsiteY31" fmla="*/ 8164 h 9946"/>
              <a:gd name="connsiteX32" fmla="*/ 9347 w 9961"/>
              <a:gd name="connsiteY32" fmla="*/ 8480 h 9946"/>
              <a:gd name="connsiteX33" fmla="*/ 9167 w 9961"/>
              <a:gd name="connsiteY33" fmla="*/ 9054 h 9946"/>
              <a:gd name="connsiteX34" fmla="*/ 8919 w 9961"/>
              <a:gd name="connsiteY34" fmla="*/ 9227 h 9946"/>
              <a:gd name="connsiteX35" fmla="*/ 8536 w 9961"/>
              <a:gd name="connsiteY35" fmla="*/ 9169 h 9946"/>
              <a:gd name="connsiteX36" fmla="*/ 7770 w 9961"/>
              <a:gd name="connsiteY36" fmla="*/ 8595 h 9946"/>
              <a:gd name="connsiteX37" fmla="*/ 7590 w 9961"/>
              <a:gd name="connsiteY37" fmla="*/ 8336 h 9946"/>
              <a:gd name="connsiteX38" fmla="*/ 7162 w 9961"/>
              <a:gd name="connsiteY38" fmla="*/ 8020 h 9946"/>
              <a:gd name="connsiteX39" fmla="*/ 6959 w 9961"/>
              <a:gd name="connsiteY39" fmla="*/ 7934 h 9946"/>
              <a:gd name="connsiteX40" fmla="*/ 6441 w 9961"/>
              <a:gd name="connsiteY40" fmla="*/ 7675 h 9946"/>
              <a:gd name="connsiteX41" fmla="*/ 6104 w 9961"/>
              <a:gd name="connsiteY41" fmla="*/ 7675 h 9946"/>
              <a:gd name="connsiteX42" fmla="*/ 5766 w 9961"/>
              <a:gd name="connsiteY42" fmla="*/ 8394 h 9946"/>
              <a:gd name="connsiteX43" fmla="*/ 5383 w 9961"/>
              <a:gd name="connsiteY43" fmla="*/ 8968 h 9946"/>
              <a:gd name="connsiteX44" fmla="*/ 4977 w 9961"/>
              <a:gd name="connsiteY44" fmla="*/ 9371 h 9946"/>
              <a:gd name="connsiteX45" fmla="*/ 4054 w 9961"/>
              <a:gd name="connsiteY45" fmla="*/ 9744 h 9946"/>
              <a:gd name="connsiteX46" fmla="*/ 3356 w 9961"/>
              <a:gd name="connsiteY46" fmla="*/ 9572 h 9946"/>
              <a:gd name="connsiteX47" fmla="*/ 2905 w 9961"/>
              <a:gd name="connsiteY47" fmla="*/ 9830 h 9946"/>
              <a:gd name="connsiteX48" fmla="*/ 2545 w 9961"/>
              <a:gd name="connsiteY48" fmla="*/ 9888 h 9946"/>
              <a:gd name="connsiteX49" fmla="*/ 1914 w 9961"/>
              <a:gd name="connsiteY49" fmla="*/ 9629 h 9946"/>
              <a:gd name="connsiteX50" fmla="*/ 1464 w 9961"/>
              <a:gd name="connsiteY50" fmla="*/ 9083 h 9946"/>
              <a:gd name="connsiteX51" fmla="*/ 1374 w 9961"/>
              <a:gd name="connsiteY51" fmla="*/ 8681 h 9946"/>
              <a:gd name="connsiteX52" fmla="*/ 946 w 9961"/>
              <a:gd name="connsiteY52" fmla="*/ 7876 h 9946"/>
              <a:gd name="connsiteX53" fmla="*/ 676 w 9961"/>
              <a:gd name="connsiteY53" fmla="*/ 6899 h 9946"/>
              <a:gd name="connsiteX54" fmla="*/ 608 w 9961"/>
              <a:gd name="connsiteY54" fmla="*/ 6210 h 9946"/>
              <a:gd name="connsiteX55" fmla="*/ 653 w 9961"/>
              <a:gd name="connsiteY55" fmla="*/ 5951 h 9946"/>
              <a:gd name="connsiteX56" fmla="*/ 1059 w 9961"/>
              <a:gd name="connsiteY56" fmla="*/ 5549 h 9946"/>
              <a:gd name="connsiteX57" fmla="*/ 1374 w 9961"/>
              <a:gd name="connsiteY57" fmla="*/ 5233 h 9946"/>
              <a:gd name="connsiteX58" fmla="*/ 1869 w 9961"/>
              <a:gd name="connsiteY58" fmla="*/ 4054 h 9946"/>
              <a:gd name="connsiteX59" fmla="*/ 1959 w 9961"/>
              <a:gd name="connsiteY59" fmla="*/ 3566 h 9946"/>
              <a:gd name="connsiteX60" fmla="*/ 2095 w 9961"/>
              <a:gd name="connsiteY60" fmla="*/ 3077 h 9946"/>
              <a:gd name="connsiteX61" fmla="*/ 1959 w 9961"/>
              <a:gd name="connsiteY61" fmla="*/ 2560 h 9946"/>
              <a:gd name="connsiteX62" fmla="*/ 1216 w 9961"/>
              <a:gd name="connsiteY62" fmla="*/ 2072 h 9946"/>
              <a:gd name="connsiteX63" fmla="*/ 428 w 9961"/>
              <a:gd name="connsiteY63" fmla="*/ 1842 h 9946"/>
              <a:gd name="connsiteX64" fmla="*/ 293 w 9961"/>
              <a:gd name="connsiteY64" fmla="*/ 1727 h 9946"/>
              <a:gd name="connsiteX65" fmla="*/ 0 w 9961"/>
              <a:gd name="connsiteY65" fmla="*/ 1583 h 9946"/>
              <a:gd name="connsiteX66" fmla="*/ 315 w 9961"/>
              <a:gd name="connsiteY66" fmla="*/ 1526 h 9946"/>
              <a:gd name="connsiteX0" fmla="*/ 316 w 10000"/>
              <a:gd name="connsiteY0" fmla="*/ 1534 h 10000"/>
              <a:gd name="connsiteX1" fmla="*/ 881 w 10000"/>
              <a:gd name="connsiteY1" fmla="*/ 1650 h 10000"/>
              <a:gd name="connsiteX2" fmla="*/ 1199 w 10000"/>
              <a:gd name="connsiteY2" fmla="*/ 1736 h 10000"/>
              <a:gd name="connsiteX3" fmla="*/ 1401 w 10000"/>
              <a:gd name="connsiteY3" fmla="*/ 1245 h 10000"/>
              <a:gd name="connsiteX4" fmla="*/ 1266 w 10000"/>
              <a:gd name="connsiteY4" fmla="*/ 956 h 10000"/>
              <a:gd name="connsiteX5" fmla="*/ 1289 w 10000"/>
              <a:gd name="connsiteY5" fmla="*/ 668 h 10000"/>
              <a:gd name="connsiteX6" fmla="*/ 1515 w 10000"/>
              <a:gd name="connsiteY6" fmla="*/ 754 h 10000"/>
              <a:gd name="connsiteX7" fmla="*/ 1899 w 10000"/>
              <a:gd name="connsiteY7" fmla="*/ 1448 h 10000"/>
              <a:gd name="connsiteX8" fmla="*/ 3030 w 10000"/>
              <a:gd name="connsiteY8" fmla="*/ 1534 h 10000"/>
              <a:gd name="connsiteX9" fmla="*/ 3120 w 10000"/>
              <a:gd name="connsiteY9" fmla="*/ 1390 h 10000"/>
              <a:gd name="connsiteX10" fmla="*/ 3505 w 10000"/>
              <a:gd name="connsiteY10" fmla="*/ 985 h 10000"/>
              <a:gd name="connsiteX11" fmla="*/ 4138 w 10000"/>
              <a:gd name="connsiteY11" fmla="*/ 1390 h 10000"/>
              <a:gd name="connsiteX12" fmla="*/ 4274 w 10000"/>
              <a:gd name="connsiteY12" fmla="*/ 580 h 10000"/>
              <a:gd name="connsiteX13" fmla="*/ 4635 w 10000"/>
              <a:gd name="connsiteY13" fmla="*/ 119 h 10000"/>
              <a:gd name="connsiteX14" fmla="*/ 5336 w 10000"/>
              <a:gd name="connsiteY14" fmla="*/ 60 h 10000"/>
              <a:gd name="connsiteX15" fmla="*/ 5608 w 10000"/>
              <a:gd name="connsiteY15" fmla="*/ 205 h 10000"/>
              <a:gd name="connsiteX16" fmla="*/ 5720 w 10000"/>
              <a:gd name="connsiteY16" fmla="*/ 466 h 10000"/>
              <a:gd name="connsiteX17" fmla="*/ 6354 w 10000"/>
              <a:gd name="connsiteY17" fmla="*/ 523 h 10000"/>
              <a:gd name="connsiteX18" fmla="*/ 7258 w 10000"/>
              <a:gd name="connsiteY18" fmla="*/ 3 h 10000"/>
              <a:gd name="connsiteX19" fmla="*/ 7506 w 10000"/>
              <a:gd name="connsiteY19" fmla="*/ 494 h 10000"/>
              <a:gd name="connsiteX20" fmla="*/ 7552 w 10000"/>
              <a:gd name="connsiteY20" fmla="*/ 783 h 10000"/>
              <a:gd name="connsiteX21" fmla="*/ 7846 w 10000"/>
              <a:gd name="connsiteY21" fmla="*/ 1129 h 10000"/>
              <a:gd name="connsiteX22" fmla="*/ 8909 w 10000"/>
              <a:gd name="connsiteY22" fmla="*/ 2170 h 10000"/>
              <a:gd name="connsiteX23" fmla="*/ 8999 w 10000"/>
              <a:gd name="connsiteY23" fmla="*/ 2950 h 10000"/>
              <a:gd name="connsiteX24" fmla="*/ 8638 w 10000"/>
              <a:gd name="connsiteY24" fmla="*/ 3817 h 10000"/>
              <a:gd name="connsiteX25" fmla="*/ 8615 w 10000"/>
              <a:gd name="connsiteY25" fmla="*/ 4944 h 10000"/>
              <a:gd name="connsiteX26" fmla="*/ 8773 w 10000"/>
              <a:gd name="connsiteY26" fmla="*/ 5232 h 10000"/>
              <a:gd name="connsiteX27" fmla="*/ 9384 w 10000"/>
              <a:gd name="connsiteY27" fmla="*/ 5781 h 10000"/>
              <a:gd name="connsiteX28" fmla="*/ 9994 w 10000"/>
              <a:gd name="connsiteY28" fmla="*/ 7168 h 10000"/>
              <a:gd name="connsiteX29" fmla="*/ 9971 w 10000"/>
              <a:gd name="connsiteY29" fmla="*/ 7457 h 10000"/>
              <a:gd name="connsiteX30" fmla="*/ 9790 w 10000"/>
              <a:gd name="connsiteY30" fmla="*/ 7775 h 10000"/>
              <a:gd name="connsiteX31" fmla="*/ 9496 w 10000"/>
              <a:gd name="connsiteY31" fmla="*/ 8208 h 10000"/>
              <a:gd name="connsiteX32" fmla="*/ 9384 w 10000"/>
              <a:gd name="connsiteY32" fmla="*/ 8526 h 10000"/>
              <a:gd name="connsiteX33" fmla="*/ 9203 w 10000"/>
              <a:gd name="connsiteY33" fmla="*/ 9103 h 10000"/>
              <a:gd name="connsiteX34" fmla="*/ 8954 w 10000"/>
              <a:gd name="connsiteY34" fmla="*/ 9277 h 10000"/>
              <a:gd name="connsiteX35" fmla="*/ 8569 w 10000"/>
              <a:gd name="connsiteY35" fmla="*/ 9219 h 10000"/>
              <a:gd name="connsiteX36" fmla="*/ 7800 w 10000"/>
              <a:gd name="connsiteY36" fmla="*/ 8642 h 10000"/>
              <a:gd name="connsiteX37" fmla="*/ 7620 w 10000"/>
              <a:gd name="connsiteY37" fmla="*/ 8381 h 10000"/>
              <a:gd name="connsiteX38" fmla="*/ 7190 w 10000"/>
              <a:gd name="connsiteY38" fmla="*/ 8064 h 10000"/>
              <a:gd name="connsiteX39" fmla="*/ 6986 w 10000"/>
              <a:gd name="connsiteY39" fmla="*/ 7977 h 10000"/>
              <a:gd name="connsiteX40" fmla="*/ 6466 w 10000"/>
              <a:gd name="connsiteY40" fmla="*/ 7717 h 10000"/>
              <a:gd name="connsiteX41" fmla="*/ 6128 w 10000"/>
              <a:gd name="connsiteY41" fmla="*/ 7717 h 10000"/>
              <a:gd name="connsiteX42" fmla="*/ 5789 w 10000"/>
              <a:gd name="connsiteY42" fmla="*/ 8440 h 10000"/>
              <a:gd name="connsiteX43" fmla="*/ 5404 w 10000"/>
              <a:gd name="connsiteY43" fmla="*/ 9017 h 10000"/>
              <a:gd name="connsiteX44" fmla="*/ 4996 w 10000"/>
              <a:gd name="connsiteY44" fmla="*/ 9422 h 10000"/>
              <a:gd name="connsiteX45" fmla="*/ 4070 w 10000"/>
              <a:gd name="connsiteY45" fmla="*/ 9797 h 10000"/>
              <a:gd name="connsiteX46" fmla="*/ 3369 w 10000"/>
              <a:gd name="connsiteY46" fmla="*/ 9624 h 10000"/>
              <a:gd name="connsiteX47" fmla="*/ 2916 w 10000"/>
              <a:gd name="connsiteY47" fmla="*/ 9883 h 10000"/>
              <a:gd name="connsiteX48" fmla="*/ 2555 w 10000"/>
              <a:gd name="connsiteY48" fmla="*/ 9942 h 10000"/>
              <a:gd name="connsiteX49" fmla="*/ 1921 w 10000"/>
              <a:gd name="connsiteY49" fmla="*/ 9681 h 10000"/>
              <a:gd name="connsiteX50" fmla="*/ 1470 w 10000"/>
              <a:gd name="connsiteY50" fmla="*/ 9132 h 10000"/>
              <a:gd name="connsiteX51" fmla="*/ 1379 w 10000"/>
              <a:gd name="connsiteY51" fmla="*/ 8728 h 10000"/>
              <a:gd name="connsiteX52" fmla="*/ 950 w 10000"/>
              <a:gd name="connsiteY52" fmla="*/ 7919 h 10000"/>
              <a:gd name="connsiteX53" fmla="*/ 679 w 10000"/>
              <a:gd name="connsiteY53" fmla="*/ 6936 h 10000"/>
              <a:gd name="connsiteX54" fmla="*/ 610 w 10000"/>
              <a:gd name="connsiteY54" fmla="*/ 6244 h 10000"/>
              <a:gd name="connsiteX55" fmla="*/ 656 w 10000"/>
              <a:gd name="connsiteY55" fmla="*/ 5983 h 10000"/>
              <a:gd name="connsiteX56" fmla="*/ 1063 w 10000"/>
              <a:gd name="connsiteY56" fmla="*/ 5579 h 10000"/>
              <a:gd name="connsiteX57" fmla="*/ 1379 w 10000"/>
              <a:gd name="connsiteY57" fmla="*/ 5261 h 10000"/>
              <a:gd name="connsiteX58" fmla="*/ 1876 w 10000"/>
              <a:gd name="connsiteY58" fmla="*/ 4076 h 10000"/>
              <a:gd name="connsiteX59" fmla="*/ 1967 w 10000"/>
              <a:gd name="connsiteY59" fmla="*/ 3585 h 10000"/>
              <a:gd name="connsiteX60" fmla="*/ 2103 w 10000"/>
              <a:gd name="connsiteY60" fmla="*/ 3094 h 10000"/>
              <a:gd name="connsiteX61" fmla="*/ 1967 w 10000"/>
              <a:gd name="connsiteY61" fmla="*/ 2574 h 10000"/>
              <a:gd name="connsiteX62" fmla="*/ 1221 w 10000"/>
              <a:gd name="connsiteY62" fmla="*/ 2083 h 10000"/>
              <a:gd name="connsiteX63" fmla="*/ 430 w 10000"/>
              <a:gd name="connsiteY63" fmla="*/ 1852 h 10000"/>
              <a:gd name="connsiteX64" fmla="*/ 294 w 10000"/>
              <a:gd name="connsiteY64" fmla="*/ 1736 h 10000"/>
              <a:gd name="connsiteX65" fmla="*/ 0 w 10000"/>
              <a:gd name="connsiteY65" fmla="*/ 1592 h 10000"/>
              <a:gd name="connsiteX66" fmla="*/ 316 w 10000"/>
              <a:gd name="connsiteY66" fmla="*/ 1534 h 10000"/>
              <a:gd name="connsiteX0" fmla="*/ 316 w 10000"/>
              <a:gd name="connsiteY0" fmla="*/ 1534 h 10000"/>
              <a:gd name="connsiteX1" fmla="*/ 881 w 10000"/>
              <a:gd name="connsiteY1" fmla="*/ 1650 h 10000"/>
              <a:gd name="connsiteX2" fmla="*/ 1199 w 10000"/>
              <a:gd name="connsiteY2" fmla="*/ 1736 h 10000"/>
              <a:gd name="connsiteX3" fmla="*/ 1401 w 10000"/>
              <a:gd name="connsiteY3" fmla="*/ 1245 h 10000"/>
              <a:gd name="connsiteX4" fmla="*/ 1266 w 10000"/>
              <a:gd name="connsiteY4" fmla="*/ 956 h 10000"/>
              <a:gd name="connsiteX5" fmla="*/ 1289 w 10000"/>
              <a:gd name="connsiteY5" fmla="*/ 668 h 10000"/>
              <a:gd name="connsiteX6" fmla="*/ 1515 w 10000"/>
              <a:gd name="connsiteY6" fmla="*/ 754 h 10000"/>
              <a:gd name="connsiteX7" fmla="*/ 1899 w 10000"/>
              <a:gd name="connsiteY7" fmla="*/ 1448 h 10000"/>
              <a:gd name="connsiteX8" fmla="*/ 3030 w 10000"/>
              <a:gd name="connsiteY8" fmla="*/ 1534 h 10000"/>
              <a:gd name="connsiteX9" fmla="*/ 3120 w 10000"/>
              <a:gd name="connsiteY9" fmla="*/ 1390 h 10000"/>
              <a:gd name="connsiteX10" fmla="*/ 3505 w 10000"/>
              <a:gd name="connsiteY10" fmla="*/ 985 h 10000"/>
              <a:gd name="connsiteX11" fmla="*/ 4138 w 10000"/>
              <a:gd name="connsiteY11" fmla="*/ 1390 h 10000"/>
              <a:gd name="connsiteX12" fmla="*/ 4274 w 10000"/>
              <a:gd name="connsiteY12" fmla="*/ 580 h 10000"/>
              <a:gd name="connsiteX13" fmla="*/ 4635 w 10000"/>
              <a:gd name="connsiteY13" fmla="*/ 119 h 10000"/>
              <a:gd name="connsiteX14" fmla="*/ 5336 w 10000"/>
              <a:gd name="connsiteY14" fmla="*/ 60 h 10000"/>
              <a:gd name="connsiteX15" fmla="*/ 5608 w 10000"/>
              <a:gd name="connsiteY15" fmla="*/ 205 h 10000"/>
              <a:gd name="connsiteX16" fmla="*/ 5720 w 10000"/>
              <a:gd name="connsiteY16" fmla="*/ 466 h 10000"/>
              <a:gd name="connsiteX17" fmla="*/ 6354 w 10000"/>
              <a:gd name="connsiteY17" fmla="*/ 523 h 10000"/>
              <a:gd name="connsiteX18" fmla="*/ 7258 w 10000"/>
              <a:gd name="connsiteY18" fmla="*/ 3 h 10000"/>
              <a:gd name="connsiteX19" fmla="*/ 7506 w 10000"/>
              <a:gd name="connsiteY19" fmla="*/ 494 h 10000"/>
              <a:gd name="connsiteX20" fmla="*/ 7552 w 10000"/>
              <a:gd name="connsiteY20" fmla="*/ 783 h 10000"/>
              <a:gd name="connsiteX21" fmla="*/ 7846 w 10000"/>
              <a:gd name="connsiteY21" fmla="*/ 1129 h 10000"/>
              <a:gd name="connsiteX22" fmla="*/ 8909 w 10000"/>
              <a:gd name="connsiteY22" fmla="*/ 2170 h 10000"/>
              <a:gd name="connsiteX23" fmla="*/ 8999 w 10000"/>
              <a:gd name="connsiteY23" fmla="*/ 2950 h 10000"/>
              <a:gd name="connsiteX24" fmla="*/ 8638 w 10000"/>
              <a:gd name="connsiteY24" fmla="*/ 3817 h 10000"/>
              <a:gd name="connsiteX25" fmla="*/ 8615 w 10000"/>
              <a:gd name="connsiteY25" fmla="*/ 4944 h 10000"/>
              <a:gd name="connsiteX26" fmla="*/ 8773 w 10000"/>
              <a:gd name="connsiteY26" fmla="*/ 5232 h 10000"/>
              <a:gd name="connsiteX27" fmla="*/ 9384 w 10000"/>
              <a:gd name="connsiteY27" fmla="*/ 5781 h 10000"/>
              <a:gd name="connsiteX28" fmla="*/ 9994 w 10000"/>
              <a:gd name="connsiteY28" fmla="*/ 7168 h 10000"/>
              <a:gd name="connsiteX29" fmla="*/ 9971 w 10000"/>
              <a:gd name="connsiteY29" fmla="*/ 7457 h 10000"/>
              <a:gd name="connsiteX30" fmla="*/ 9790 w 10000"/>
              <a:gd name="connsiteY30" fmla="*/ 7775 h 10000"/>
              <a:gd name="connsiteX31" fmla="*/ 9496 w 10000"/>
              <a:gd name="connsiteY31" fmla="*/ 8208 h 10000"/>
              <a:gd name="connsiteX32" fmla="*/ 9384 w 10000"/>
              <a:gd name="connsiteY32" fmla="*/ 8526 h 10000"/>
              <a:gd name="connsiteX33" fmla="*/ 9203 w 10000"/>
              <a:gd name="connsiteY33" fmla="*/ 9103 h 10000"/>
              <a:gd name="connsiteX34" fmla="*/ 8954 w 10000"/>
              <a:gd name="connsiteY34" fmla="*/ 9277 h 10000"/>
              <a:gd name="connsiteX35" fmla="*/ 8569 w 10000"/>
              <a:gd name="connsiteY35" fmla="*/ 9219 h 10000"/>
              <a:gd name="connsiteX36" fmla="*/ 7800 w 10000"/>
              <a:gd name="connsiteY36" fmla="*/ 8642 h 10000"/>
              <a:gd name="connsiteX37" fmla="*/ 7620 w 10000"/>
              <a:gd name="connsiteY37" fmla="*/ 8381 h 10000"/>
              <a:gd name="connsiteX38" fmla="*/ 7190 w 10000"/>
              <a:gd name="connsiteY38" fmla="*/ 8064 h 10000"/>
              <a:gd name="connsiteX39" fmla="*/ 6986 w 10000"/>
              <a:gd name="connsiteY39" fmla="*/ 7977 h 10000"/>
              <a:gd name="connsiteX40" fmla="*/ 6466 w 10000"/>
              <a:gd name="connsiteY40" fmla="*/ 7717 h 10000"/>
              <a:gd name="connsiteX41" fmla="*/ 6128 w 10000"/>
              <a:gd name="connsiteY41" fmla="*/ 7717 h 10000"/>
              <a:gd name="connsiteX42" fmla="*/ 5789 w 10000"/>
              <a:gd name="connsiteY42" fmla="*/ 8440 h 10000"/>
              <a:gd name="connsiteX43" fmla="*/ 5404 w 10000"/>
              <a:gd name="connsiteY43" fmla="*/ 9017 h 10000"/>
              <a:gd name="connsiteX44" fmla="*/ 4996 w 10000"/>
              <a:gd name="connsiteY44" fmla="*/ 9422 h 10000"/>
              <a:gd name="connsiteX45" fmla="*/ 4070 w 10000"/>
              <a:gd name="connsiteY45" fmla="*/ 9797 h 10000"/>
              <a:gd name="connsiteX46" fmla="*/ 3369 w 10000"/>
              <a:gd name="connsiteY46" fmla="*/ 9624 h 10000"/>
              <a:gd name="connsiteX47" fmla="*/ 2916 w 10000"/>
              <a:gd name="connsiteY47" fmla="*/ 9883 h 10000"/>
              <a:gd name="connsiteX48" fmla="*/ 2555 w 10000"/>
              <a:gd name="connsiteY48" fmla="*/ 9942 h 10000"/>
              <a:gd name="connsiteX49" fmla="*/ 1921 w 10000"/>
              <a:gd name="connsiteY49" fmla="*/ 9681 h 10000"/>
              <a:gd name="connsiteX50" fmla="*/ 1470 w 10000"/>
              <a:gd name="connsiteY50" fmla="*/ 9132 h 10000"/>
              <a:gd name="connsiteX51" fmla="*/ 1379 w 10000"/>
              <a:gd name="connsiteY51" fmla="*/ 8728 h 10000"/>
              <a:gd name="connsiteX52" fmla="*/ 950 w 10000"/>
              <a:gd name="connsiteY52" fmla="*/ 7919 h 10000"/>
              <a:gd name="connsiteX53" fmla="*/ 679 w 10000"/>
              <a:gd name="connsiteY53" fmla="*/ 6936 h 10000"/>
              <a:gd name="connsiteX54" fmla="*/ 610 w 10000"/>
              <a:gd name="connsiteY54" fmla="*/ 6244 h 10000"/>
              <a:gd name="connsiteX55" fmla="*/ 656 w 10000"/>
              <a:gd name="connsiteY55" fmla="*/ 5983 h 10000"/>
              <a:gd name="connsiteX56" fmla="*/ 1063 w 10000"/>
              <a:gd name="connsiteY56" fmla="*/ 5579 h 10000"/>
              <a:gd name="connsiteX57" fmla="*/ 1379 w 10000"/>
              <a:gd name="connsiteY57" fmla="*/ 5261 h 10000"/>
              <a:gd name="connsiteX58" fmla="*/ 1876 w 10000"/>
              <a:gd name="connsiteY58" fmla="*/ 4076 h 10000"/>
              <a:gd name="connsiteX59" fmla="*/ 1967 w 10000"/>
              <a:gd name="connsiteY59" fmla="*/ 3585 h 10000"/>
              <a:gd name="connsiteX60" fmla="*/ 2103 w 10000"/>
              <a:gd name="connsiteY60" fmla="*/ 3094 h 10000"/>
              <a:gd name="connsiteX61" fmla="*/ 1967 w 10000"/>
              <a:gd name="connsiteY61" fmla="*/ 2574 h 10000"/>
              <a:gd name="connsiteX62" fmla="*/ 1221 w 10000"/>
              <a:gd name="connsiteY62" fmla="*/ 2083 h 10000"/>
              <a:gd name="connsiteX63" fmla="*/ 430 w 10000"/>
              <a:gd name="connsiteY63" fmla="*/ 1852 h 10000"/>
              <a:gd name="connsiteX64" fmla="*/ 294 w 10000"/>
              <a:gd name="connsiteY64" fmla="*/ 1736 h 10000"/>
              <a:gd name="connsiteX65" fmla="*/ 0 w 10000"/>
              <a:gd name="connsiteY65" fmla="*/ 1592 h 10000"/>
              <a:gd name="connsiteX66" fmla="*/ 316 w 10000"/>
              <a:gd name="connsiteY66" fmla="*/ 1534 h 10000"/>
              <a:gd name="connsiteX0" fmla="*/ 316 w 10000"/>
              <a:gd name="connsiteY0" fmla="*/ 1534 h 10000"/>
              <a:gd name="connsiteX1" fmla="*/ 881 w 10000"/>
              <a:gd name="connsiteY1" fmla="*/ 1650 h 10000"/>
              <a:gd name="connsiteX2" fmla="*/ 1199 w 10000"/>
              <a:gd name="connsiteY2" fmla="*/ 1736 h 10000"/>
              <a:gd name="connsiteX3" fmla="*/ 1401 w 10000"/>
              <a:gd name="connsiteY3" fmla="*/ 1245 h 10000"/>
              <a:gd name="connsiteX4" fmla="*/ 1266 w 10000"/>
              <a:gd name="connsiteY4" fmla="*/ 956 h 10000"/>
              <a:gd name="connsiteX5" fmla="*/ 1289 w 10000"/>
              <a:gd name="connsiteY5" fmla="*/ 668 h 10000"/>
              <a:gd name="connsiteX6" fmla="*/ 1515 w 10000"/>
              <a:gd name="connsiteY6" fmla="*/ 754 h 10000"/>
              <a:gd name="connsiteX7" fmla="*/ 1899 w 10000"/>
              <a:gd name="connsiteY7" fmla="*/ 1448 h 10000"/>
              <a:gd name="connsiteX8" fmla="*/ 3030 w 10000"/>
              <a:gd name="connsiteY8" fmla="*/ 1534 h 10000"/>
              <a:gd name="connsiteX9" fmla="*/ 3120 w 10000"/>
              <a:gd name="connsiteY9" fmla="*/ 1390 h 10000"/>
              <a:gd name="connsiteX10" fmla="*/ 3505 w 10000"/>
              <a:gd name="connsiteY10" fmla="*/ 841 h 10000"/>
              <a:gd name="connsiteX11" fmla="*/ 4138 w 10000"/>
              <a:gd name="connsiteY11" fmla="*/ 1390 h 10000"/>
              <a:gd name="connsiteX12" fmla="*/ 4274 w 10000"/>
              <a:gd name="connsiteY12" fmla="*/ 580 h 10000"/>
              <a:gd name="connsiteX13" fmla="*/ 4635 w 10000"/>
              <a:gd name="connsiteY13" fmla="*/ 119 h 10000"/>
              <a:gd name="connsiteX14" fmla="*/ 5336 w 10000"/>
              <a:gd name="connsiteY14" fmla="*/ 60 h 10000"/>
              <a:gd name="connsiteX15" fmla="*/ 5608 w 10000"/>
              <a:gd name="connsiteY15" fmla="*/ 205 h 10000"/>
              <a:gd name="connsiteX16" fmla="*/ 5720 w 10000"/>
              <a:gd name="connsiteY16" fmla="*/ 466 h 10000"/>
              <a:gd name="connsiteX17" fmla="*/ 6354 w 10000"/>
              <a:gd name="connsiteY17" fmla="*/ 523 h 10000"/>
              <a:gd name="connsiteX18" fmla="*/ 7258 w 10000"/>
              <a:gd name="connsiteY18" fmla="*/ 3 h 10000"/>
              <a:gd name="connsiteX19" fmla="*/ 7506 w 10000"/>
              <a:gd name="connsiteY19" fmla="*/ 494 h 10000"/>
              <a:gd name="connsiteX20" fmla="*/ 7552 w 10000"/>
              <a:gd name="connsiteY20" fmla="*/ 783 h 10000"/>
              <a:gd name="connsiteX21" fmla="*/ 7846 w 10000"/>
              <a:gd name="connsiteY21" fmla="*/ 1129 h 10000"/>
              <a:gd name="connsiteX22" fmla="*/ 8909 w 10000"/>
              <a:gd name="connsiteY22" fmla="*/ 2170 h 10000"/>
              <a:gd name="connsiteX23" fmla="*/ 8999 w 10000"/>
              <a:gd name="connsiteY23" fmla="*/ 2950 h 10000"/>
              <a:gd name="connsiteX24" fmla="*/ 8638 w 10000"/>
              <a:gd name="connsiteY24" fmla="*/ 3817 h 10000"/>
              <a:gd name="connsiteX25" fmla="*/ 8615 w 10000"/>
              <a:gd name="connsiteY25" fmla="*/ 4944 h 10000"/>
              <a:gd name="connsiteX26" fmla="*/ 8773 w 10000"/>
              <a:gd name="connsiteY26" fmla="*/ 5232 h 10000"/>
              <a:gd name="connsiteX27" fmla="*/ 9384 w 10000"/>
              <a:gd name="connsiteY27" fmla="*/ 5781 h 10000"/>
              <a:gd name="connsiteX28" fmla="*/ 9994 w 10000"/>
              <a:gd name="connsiteY28" fmla="*/ 7168 h 10000"/>
              <a:gd name="connsiteX29" fmla="*/ 9971 w 10000"/>
              <a:gd name="connsiteY29" fmla="*/ 7457 h 10000"/>
              <a:gd name="connsiteX30" fmla="*/ 9790 w 10000"/>
              <a:gd name="connsiteY30" fmla="*/ 7775 h 10000"/>
              <a:gd name="connsiteX31" fmla="*/ 9496 w 10000"/>
              <a:gd name="connsiteY31" fmla="*/ 8208 h 10000"/>
              <a:gd name="connsiteX32" fmla="*/ 9384 w 10000"/>
              <a:gd name="connsiteY32" fmla="*/ 8526 h 10000"/>
              <a:gd name="connsiteX33" fmla="*/ 9203 w 10000"/>
              <a:gd name="connsiteY33" fmla="*/ 9103 h 10000"/>
              <a:gd name="connsiteX34" fmla="*/ 8954 w 10000"/>
              <a:gd name="connsiteY34" fmla="*/ 9277 h 10000"/>
              <a:gd name="connsiteX35" fmla="*/ 8569 w 10000"/>
              <a:gd name="connsiteY35" fmla="*/ 9219 h 10000"/>
              <a:gd name="connsiteX36" fmla="*/ 7800 w 10000"/>
              <a:gd name="connsiteY36" fmla="*/ 8642 h 10000"/>
              <a:gd name="connsiteX37" fmla="*/ 7620 w 10000"/>
              <a:gd name="connsiteY37" fmla="*/ 8381 h 10000"/>
              <a:gd name="connsiteX38" fmla="*/ 7190 w 10000"/>
              <a:gd name="connsiteY38" fmla="*/ 8064 h 10000"/>
              <a:gd name="connsiteX39" fmla="*/ 6986 w 10000"/>
              <a:gd name="connsiteY39" fmla="*/ 7977 h 10000"/>
              <a:gd name="connsiteX40" fmla="*/ 6466 w 10000"/>
              <a:gd name="connsiteY40" fmla="*/ 7717 h 10000"/>
              <a:gd name="connsiteX41" fmla="*/ 6128 w 10000"/>
              <a:gd name="connsiteY41" fmla="*/ 7717 h 10000"/>
              <a:gd name="connsiteX42" fmla="*/ 5789 w 10000"/>
              <a:gd name="connsiteY42" fmla="*/ 8440 h 10000"/>
              <a:gd name="connsiteX43" fmla="*/ 5404 w 10000"/>
              <a:gd name="connsiteY43" fmla="*/ 9017 h 10000"/>
              <a:gd name="connsiteX44" fmla="*/ 4996 w 10000"/>
              <a:gd name="connsiteY44" fmla="*/ 9422 h 10000"/>
              <a:gd name="connsiteX45" fmla="*/ 4070 w 10000"/>
              <a:gd name="connsiteY45" fmla="*/ 9797 h 10000"/>
              <a:gd name="connsiteX46" fmla="*/ 3369 w 10000"/>
              <a:gd name="connsiteY46" fmla="*/ 9624 h 10000"/>
              <a:gd name="connsiteX47" fmla="*/ 2916 w 10000"/>
              <a:gd name="connsiteY47" fmla="*/ 9883 h 10000"/>
              <a:gd name="connsiteX48" fmla="*/ 2555 w 10000"/>
              <a:gd name="connsiteY48" fmla="*/ 9942 h 10000"/>
              <a:gd name="connsiteX49" fmla="*/ 1921 w 10000"/>
              <a:gd name="connsiteY49" fmla="*/ 9681 h 10000"/>
              <a:gd name="connsiteX50" fmla="*/ 1470 w 10000"/>
              <a:gd name="connsiteY50" fmla="*/ 9132 h 10000"/>
              <a:gd name="connsiteX51" fmla="*/ 1379 w 10000"/>
              <a:gd name="connsiteY51" fmla="*/ 8728 h 10000"/>
              <a:gd name="connsiteX52" fmla="*/ 950 w 10000"/>
              <a:gd name="connsiteY52" fmla="*/ 7919 h 10000"/>
              <a:gd name="connsiteX53" fmla="*/ 679 w 10000"/>
              <a:gd name="connsiteY53" fmla="*/ 6936 h 10000"/>
              <a:gd name="connsiteX54" fmla="*/ 610 w 10000"/>
              <a:gd name="connsiteY54" fmla="*/ 6244 h 10000"/>
              <a:gd name="connsiteX55" fmla="*/ 656 w 10000"/>
              <a:gd name="connsiteY55" fmla="*/ 5983 h 10000"/>
              <a:gd name="connsiteX56" fmla="*/ 1063 w 10000"/>
              <a:gd name="connsiteY56" fmla="*/ 5579 h 10000"/>
              <a:gd name="connsiteX57" fmla="*/ 1379 w 10000"/>
              <a:gd name="connsiteY57" fmla="*/ 5261 h 10000"/>
              <a:gd name="connsiteX58" fmla="*/ 1876 w 10000"/>
              <a:gd name="connsiteY58" fmla="*/ 4076 h 10000"/>
              <a:gd name="connsiteX59" fmla="*/ 1967 w 10000"/>
              <a:gd name="connsiteY59" fmla="*/ 3585 h 10000"/>
              <a:gd name="connsiteX60" fmla="*/ 2103 w 10000"/>
              <a:gd name="connsiteY60" fmla="*/ 3094 h 10000"/>
              <a:gd name="connsiteX61" fmla="*/ 1967 w 10000"/>
              <a:gd name="connsiteY61" fmla="*/ 2574 h 10000"/>
              <a:gd name="connsiteX62" fmla="*/ 1221 w 10000"/>
              <a:gd name="connsiteY62" fmla="*/ 2083 h 10000"/>
              <a:gd name="connsiteX63" fmla="*/ 430 w 10000"/>
              <a:gd name="connsiteY63" fmla="*/ 1852 h 10000"/>
              <a:gd name="connsiteX64" fmla="*/ 294 w 10000"/>
              <a:gd name="connsiteY64" fmla="*/ 1736 h 10000"/>
              <a:gd name="connsiteX65" fmla="*/ 0 w 10000"/>
              <a:gd name="connsiteY65" fmla="*/ 1592 h 10000"/>
              <a:gd name="connsiteX66" fmla="*/ 316 w 10000"/>
              <a:gd name="connsiteY66" fmla="*/ 1534 h 10000"/>
              <a:gd name="connsiteX0" fmla="*/ 316 w 10000"/>
              <a:gd name="connsiteY0" fmla="*/ 1534 h 10000"/>
              <a:gd name="connsiteX1" fmla="*/ 881 w 10000"/>
              <a:gd name="connsiteY1" fmla="*/ 1650 h 10000"/>
              <a:gd name="connsiteX2" fmla="*/ 1199 w 10000"/>
              <a:gd name="connsiteY2" fmla="*/ 1736 h 10000"/>
              <a:gd name="connsiteX3" fmla="*/ 1401 w 10000"/>
              <a:gd name="connsiteY3" fmla="*/ 1245 h 10000"/>
              <a:gd name="connsiteX4" fmla="*/ 1266 w 10000"/>
              <a:gd name="connsiteY4" fmla="*/ 956 h 10000"/>
              <a:gd name="connsiteX5" fmla="*/ 1289 w 10000"/>
              <a:gd name="connsiteY5" fmla="*/ 668 h 10000"/>
              <a:gd name="connsiteX6" fmla="*/ 1515 w 10000"/>
              <a:gd name="connsiteY6" fmla="*/ 754 h 10000"/>
              <a:gd name="connsiteX7" fmla="*/ 1899 w 10000"/>
              <a:gd name="connsiteY7" fmla="*/ 1448 h 10000"/>
              <a:gd name="connsiteX8" fmla="*/ 3030 w 10000"/>
              <a:gd name="connsiteY8" fmla="*/ 1534 h 10000"/>
              <a:gd name="connsiteX9" fmla="*/ 3120 w 10000"/>
              <a:gd name="connsiteY9" fmla="*/ 1390 h 10000"/>
              <a:gd name="connsiteX10" fmla="*/ 3505 w 10000"/>
              <a:gd name="connsiteY10" fmla="*/ 841 h 10000"/>
              <a:gd name="connsiteX11" fmla="*/ 4138 w 10000"/>
              <a:gd name="connsiteY11" fmla="*/ 1390 h 10000"/>
              <a:gd name="connsiteX12" fmla="*/ 4274 w 10000"/>
              <a:gd name="connsiteY12" fmla="*/ 580 h 10000"/>
              <a:gd name="connsiteX13" fmla="*/ 4635 w 10000"/>
              <a:gd name="connsiteY13" fmla="*/ 119 h 10000"/>
              <a:gd name="connsiteX14" fmla="*/ 5336 w 10000"/>
              <a:gd name="connsiteY14" fmla="*/ 60 h 10000"/>
              <a:gd name="connsiteX15" fmla="*/ 5608 w 10000"/>
              <a:gd name="connsiteY15" fmla="*/ 205 h 10000"/>
              <a:gd name="connsiteX16" fmla="*/ 5720 w 10000"/>
              <a:gd name="connsiteY16" fmla="*/ 466 h 10000"/>
              <a:gd name="connsiteX17" fmla="*/ 6354 w 10000"/>
              <a:gd name="connsiteY17" fmla="*/ 523 h 10000"/>
              <a:gd name="connsiteX18" fmla="*/ 7258 w 10000"/>
              <a:gd name="connsiteY18" fmla="*/ 3 h 10000"/>
              <a:gd name="connsiteX19" fmla="*/ 7506 w 10000"/>
              <a:gd name="connsiteY19" fmla="*/ 494 h 10000"/>
              <a:gd name="connsiteX20" fmla="*/ 7552 w 10000"/>
              <a:gd name="connsiteY20" fmla="*/ 783 h 10000"/>
              <a:gd name="connsiteX21" fmla="*/ 7846 w 10000"/>
              <a:gd name="connsiteY21" fmla="*/ 1129 h 10000"/>
              <a:gd name="connsiteX22" fmla="*/ 8909 w 10000"/>
              <a:gd name="connsiteY22" fmla="*/ 2170 h 10000"/>
              <a:gd name="connsiteX23" fmla="*/ 8999 w 10000"/>
              <a:gd name="connsiteY23" fmla="*/ 2950 h 10000"/>
              <a:gd name="connsiteX24" fmla="*/ 8638 w 10000"/>
              <a:gd name="connsiteY24" fmla="*/ 3817 h 10000"/>
              <a:gd name="connsiteX25" fmla="*/ 8615 w 10000"/>
              <a:gd name="connsiteY25" fmla="*/ 4944 h 10000"/>
              <a:gd name="connsiteX26" fmla="*/ 8773 w 10000"/>
              <a:gd name="connsiteY26" fmla="*/ 5232 h 10000"/>
              <a:gd name="connsiteX27" fmla="*/ 9384 w 10000"/>
              <a:gd name="connsiteY27" fmla="*/ 5781 h 10000"/>
              <a:gd name="connsiteX28" fmla="*/ 9994 w 10000"/>
              <a:gd name="connsiteY28" fmla="*/ 7168 h 10000"/>
              <a:gd name="connsiteX29" fmla="*/ 9971 w 10000"/>
              <a:gd name="connsiteY29" fmla="*/ 7457 h 10000"/>
              <a:gd name="connsiteX30" fmla="*/ 9790 w 10000"/>
              <a:gd name="connsiteY30" fmla="*/ 7775 h 10000"/>
              <a:gd name="connsiteX31" fmla="*/ 9496 w 10000"/>
              <a:gd name="connsiteY31" fmla="*/ 8208 h 10000"/>
              <a:gd name="connsiteX32" fmla="*/ 9384 w 10000"/>
              <a:gd name="connsiteY32" fmla="*/ 8526 h 10000"/>
              <a:gd name="connsiteX33" fmla="*/ 9203 w 10000"/>
              <a:gd name="connsiteY33" fmla="*/ 9103 h 10000"/>
              <a:gd name="connsiteX34" fmla="*/ 8954 w 10000"/>
              <a:gd name="connsiteY34" fmla="*/ 9277 h 10000"/>
              <a:gd name="connsiteX35" fmla="*/ 8569 w 10000"/>
              <a:gd name="connsiteY35" fmla="*/ 9219 h 10000"/>
              <a:gd name="connsiteX36" fmla="*/ 7800 w 10000"/>
              <a:gd name="connsiteY36" fmla="*/ 8642 h 10000"/>
              <a:gd name="connsiteX37" fmla="*/ 7620 w 10000"/>
              <a:gd name="connsiteY37" fmla="*/ 8381 h 10000"/>
              <a:gd name="connsiteX38" fmla="*/ 7190 w 10000"/>
              <a:gd name="connsiteY38" fmla="*/ 8064 h 10000"/>
              <a:gd name="connsiteX39" fmla="*/ 6986 w 10000"/>
              <a:gd name="connsiteY39" fmla="*/ 7977 h 10000"/>
              <a:gd name="connsiteX40" fmla="*/ 6466 w 10000"/>
              <a:gd name="connsiteY40" fmla="*/ 7717 h 10000"/>
              <a:gd name="connsiteX41" fmla="*/ 6128 w 10000"/>
              <a:gd name="connsiteY41" fmla="*/ 7717 h 10000"/>
              <a:gd name="connsiteX42" fmla="*/ 5789 w 10000"/>
              <a:gd name="connsiteY42" fmla="*/ 8440 h 10000"/>
              <a:gd name="connsiteX43" fmla="*/ 5404 w 10000"/>
              <a:gd name="connsiteY43" fmla="*/ 9017 h 10000"/>
              <a:gd name="connsiteX44" fmla="*/ 4996 w 10000"/>
              <a:gd name="connsiteY44" fmla="*/ 9422 h 10000"/>
              <a:gd name="connsiteX45" fmla="*/ 4070 w 10000"/>
              <a:gd name="connsiteY45" fmla="*/ 9797 h 10000"/>
              <a:gd name="connsiteX46" fmla="*/ 3369 w 10000"/>
              <a:gd name="connsiteY46" fmla="*/ 9624 h 10000"/>
              <a:gd name="connsiteX47" fmla="*/ 2916 w 10000"/>
              <a:gd name="connsiteY47" fmla="*/ 9883 h 10000"/>
              <a:gd name="connsiteX48" fmla="*/ 2555 w 10000"/>
              <a:gd name="connsiteY48" fmla="*/ 9942 h 10000"/>
              <a:gd name="connsiteX49" fmla="*/ 1921 w 10000"/>
              <a:gd name="connsiteY49" fmla="*/ 9681 h 10000"/>
              <a:gd name="connsiteX50" fmla="*/ 1470 w 10000"/>
              <a:gd name="connsiteY50" fmla="*/ 9132 h 10000"/>
              <a:gd name="connsiteX51" fmla="*/ 1379 w 10000"/>
              <a:gd name="connsiteY51" fmla="*/ 8728 h 10000"/>
              <a:gd name="connsiteX52" fmla="*/ 950 w 10000"/>
              <a:gd name="connsiteY52" fmla="*/ 7919 h 10000"/>
              <a:gd name="connsiteX53" fmla="*/ 679 w 10000"/>
              <a:gd name="connsiteY53" fmla="*/ 6936 h 10000"/>
              <a:gd name="connsiteX54" fmla="*/ 610 w 10000"/>
              <a:gd name="connsiteY54" fmla="*/ 6244 h 10000"/>
              <a:gd name="connsiteX55" fmla="*/ 656 w 10000"/>
              <a:gd name="connsiteY55" fmla="*/ 5983 h 10000"/>
              <a:gd name="connsiteX56" fmla="*/ 1063 w 10000"/>
              <a:gd name="connsiteY56" fmla="*/ 5579 h 10000"/>
              <a:gd name="connsiteX57" fmla="*/ 1379 w 10000"/>
              <a:gd name="connsiteY57" fmla="*/ 5261 h 10000"/>
              <a:gd name="connsiteX58" fmla="*/ 1876 w 10000"/>
              <a:gd name="connsiteY58" fmla="*/ 4076 h 10000"/>
              <a:gd name="connsiteX59" fmla="*/ 1967 w 10000"/>
              <a:gd name="connsiteY59" fmla="*/ 3585 h 10000"/>
              <a:gd name="connsiteX60" fmla="*/ 2103 w 10000"/>
              <a:gd name="connsiteY60" fmla="*/ 3094 h 10000"/>
              <a:gd name="connsiteX61" fmla="*/ 1967 w 10000"/>
              <a:gd name="connsiteY61" fmla="*/ 2574 h 10000"/>
              <a:gd name="connsiteX62" fmla="*/ 1221 w 10000"/>
              <a:gd name="connsiteY62" fmla="*/ 2083 h 10000"/>
              <a:gd name="connsiteX63" fmla="*/ 430 w 10000"/>
              <a:gd name="connsiteY63" fmla="*/ 1852 h 10000"/>
              <a:gd name="connsiteX64" fmla="*/ 294 w 10000"/>
              <a:gd name="connsiteY64" fmla="*/ 1736 h 10000"/>
              <a:gd name="connsiteX65" fmla="*/ 0 w 10000"/>
              <a:gd name="connsiteY65" fmla="*/ 1592 h 10000"/>
              <a:gd name="connsiteX66" fmla="*/ 316 w 10000"/>
              <a:gd name="connsiteY66" fmla="*/ 153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10000" h="10000">
                <a:moveTo>
                  <a:pt x="316" y="1534"/>
                </a:moveTo>
                <a:cubicBezTo>
                  <a:pt x="520" y="1534"/>
                  <a:pt x="724" y="1505"/>
                  <a:pt x="881" y="1650"/>
                </a:cubicBezTo>
                <a:cubicBezTo>
                  <a:pt x="972" y="1736"/>
                  <a:pt x="1085" y="1736"/>
                  <a:pt x="1199" y="1736"/>
                </a:cubicBezTo>
                <a:cubicBezTo>
                  <a:pt x="1470" y="1736"/>
                  <a:pt x="1538" y="1534"/>
                  <a:pt x="1401" y="1245"/>
                </a:cubicBezTo>
                <a:cubicBezTo>
                  <a:pt x="1356" y="1158"/>
                  <a:pt x="1311" y="1072"/>
                  <a:pt x="1266" y="956"/>
                </a:cubicBezTo>
                <a:cubicBezTo>
                  <a:pt x="1199" y="841"/>
                  <a:pt x="1199" y="725"/>
                  <a:pt x="1289" y="668"/>
                </a:cubicBezTo>
                <a:cubicBezTo>
                  <a:pt x="1379" y="580"/>
                  <a:pt x="1470" y="668"/>
                  <a:pt x="1515" y="754"/>
                </a:cubicBezTo>
                <a:cubicBezTo>
                  <a:pt x="1650" y="985"/>
                  <a:pt x="1741" y="1245"/>
                  <a:pt x="1899" y="1448"/>
                </a:cubicBezTo>
                <a:cubicBezTo>
                  <a:pt x="2306" y="1909"/>
                  <a:pt x="2600" y="1938"/>
                  <a:pt x="3030" y="1534"/>
                </a:cubicBezTo>
                <a:cubicBezTo>
                  <a:pt x="3053" y="1476"/>
                  <a:pt x="3098" y="1448"/>
                  <a:pt x="3120" y="1390"/>
                </a:cubicBezTo>
                <a:cubicBezTo>
                  <a:pt x="3414" y="1013"/>
                  <a:pt x="3234" y="465"/>
                  <a:pt x="3505" y="841"/>
                </a:cubicBezTo>
                <a:cubicBezTo>
                  <a:pt x="3617" y="1159"/>
                  <a:pt x="3798" y="1678"/>
                  <a:pt x="4138" y="1390"/>
                </a:cubicBezTo>
                <a:cubicBezTo>
                  <a:pt x="4274" y="1158"/>
                  <a:pt x="4296" y="870"/>
                  <a:pt x="4274" y="580"/>
                </a:cubicBezTo>
                <a:cubicBezTo>
                  <a:pt x="4274" y="205"/>
                  <a:pt x="4341" y="147"/>
                  <a:pt x="4635" y="119"/>
                </a:cubicBezTo>
                <a:cubicBezTo>
                  <a:pt x="4861" y="119"/>
                  <a:pt x="5110" y="176"/>
                  <a:pt x="5336" y="60"/>
                </a:cubicBezTo>
                <a:cubicBezTo>
                  <a:pt x="5471" y="31"/>
                  <a:pt x="5540" y="119"/>
                  <a:pt x="5608" y="205"/>
                </a:cubicBezTo>
                <a:cubicBezTo>
                  <a:pt x="5653" y="292"/>
                  <a:pt x="5675" y="378"/>
                  <a:pt x="5720" y="466"/>
                </a:cubicBezTo>
                <a:cubicBezTo>
                  <a:pt x="5924" y="870"/>
                  <a:pt x="6150" y="899"/>
                  <a:pt x="6354" y="523"/>
                </a:cubicBezTo>
                <a:cubicBezTo>
                  <a:pt x="6580" y="60"/>
                  <a:pt x="6941" y="89"/>
                  <a:pt x="7258" y="3"/>
                </a:cubicBezTo>
                <a:cubicBezTo>
                  <a:pt x="7484" y="-26"/>
                  <a:pt x="7598" y="176"/>
                  <a:pt x="7506" y="494"/>
                </a:cubicBezTo>
                <a:cubicBezTo>
                  <a:pt x="7484" y="609"/>
                  <a:pt x="7484" y="696"/>
                  <a:pt x="7552" y="783"/>
                </a:cubicBezTo>
                <a:cubicBezTo>
                  <a:pt x="7665" y="899"/>
                  <a:pt x="7733" y="1072"/>
                  <a:pt x="7846" y="1129"/>
                </a:cubicBezTo>
                <a:cubicBezTo>
                  <a:pt x="8320" y="1303"/>
                  <a:pt x="8593" y="1794"/>
                  <a:pt x="8909" y="2170"/>
                </a:cubicBezTo>
                <a:cubicBezTo>
                  <a:pt x="9113" y="2430"/>
                  <a:pt x="9113" y="2660"/>
                  <a:pt x="8999" y="2950"/>
                </a:cubicBezTo>
                <a:cubicBezTo>
                  <a:pt x="8886" y="3238"/>
                  <a:pt x="8683" y="3470"/>
                  <a:pt x="8638" y="3817"/>
                </a:cubicBezTo>
                <a:cubicBezTo>
                  <a:pt x="8593" y="4192"/>
                  <a:pt x="8683" y="4568"/>
                  <a:pt x="8615" y="4944"/>
                </a:cubicBezTo>
                <a:cubicBezTo>
                  <a:pt x="8615" y="5058"/>
                  <a:pt x="8705" y="5146"/>
                  <a:pt x="8773" y="5232"/>
                </a:cubicBezTo>
                <a:cubicBezTo>
                  <a:pt x="8931" y="5464"/>
                  <a:pt x="9158" y="5636"/>
                  <a:pt x="9384" y="5781"/>
                </a:cubicBezTo>
                <a:cubicBezTo>
                  <a:pt x="9858" y="6070"/>
                  <a:pt x="10039" y="6475"/>
                  <a:pt x="9994" y="7168"/>
                </a:cubicBezTo>
                <a:cubicBezTo>
                  <a:pt x="9971" y="7254"/>
                  <a:pt x="9971" y="7342"/>
                  <a:pt x="9971" y="7457"/>
                </a:cubicBezTo>
                <a:cubicBezTo>
                  <a:pt x="9994" y="7630"/>
                  <a:pt x="9926" y="7717"/>
                  <a:pt x="9790" y="7775"/>
                </a:cubicBezTo>
                <a:cubicBezTo>
                  <a:pt x="9587" y="7803"/>
                  <a:pt x="9496" y="7948"/>
                  <a:pt x="9496" y="8208"/>
                </a:cubicBezTo>
                <a:cubicBezTo>
                  <a:pt x="9496" y="8324"/>
                  <a:pt x="9451" y="8440"/>
                  <a:pt x="9384" y="8526"/>
                </a:cubicBezTo>
                <a:cubicBezTo>
                  <a:pt x="9270" y="8699"/>
                  <a:pt x="9180" y="8844"/>
                  <a:pt x="9203" y="9103"/>
                </a:cubicBezTo>
                <a:cubicBezTo>
                  <a:pt x="9203" y="9248"/>
                  <a:pt x="9135" y="9422"/>
                  <a:pt x="8954" y="9277"/>
                </a:cubicBezTo>
                <a:cubicBezTo>
                  <a:pt x="8840" y="9191"/>
                  <a:pt x="8728" y="9075"/>
                  <a:pt x="8569" y="9219"/>
                </a:cubicBezTo>
                <a:cubicBezTo>
                  <a:pt x="8344" y="8989"/>
                  <a:pt x="7936" y="9103"/>
                  <a:pt x="7800" y="8642"/>
                </a:cubicBezTo>
                <a:cubicBezTo>
                  <a:pt x="7778" y="8497"/>
                  <a:pt x="7710" y="8410"/>
                  <a:pt x="7620" y="8381"/>
                </a:cubicBezTo>
                <a:cubicBezTo>
                  <a:pt x="7439" y="8324"/>
                  <a:pt x="7303" y="8208"/>
                  <a:pt x="7190" y="8064"/>
                </a:cubicBezTo>
                <a:cubicBezTo>
                  <a:pt x="7123" y="8006"/>
                  <a:pt x="7055" y="7948"/>
                  <a:pt x="6986" y="7977"/>
                </a:cubicBezTo>
                <a:cubicBezTo>
                  <a:pt x="6783" y="8006"/>
                  <a:pt x="6603" y="7919"/>
                  <a:pt x="6466" y="7717"/>
                </a:cubicBezTo>
                <a:cubicBezTo>
                  <a:pt x="6354" y="7572"/>
                  <a:pt x="6240" y="7601"/>
                  <a:pt x="6128" y="7717"/>
                </a:cubicBezTo>
                <a:cubicBezTo>
                  <a:pt x="5969" y="7919"/>
                  <a:pt x="5811" y="8093"/>
                  <a:pt x="5789" y="8440"/>
                </a:cubicBezTo>
                <a:cubicBezTo>
                  <a:pt x="5789" y="8728"/>
                  <a:pt x="5720" y="8989"/>
                  <a:pt x="5404" y="9017"/>
                </a:cubicBezTo>
                <a:cubicBezTo>
                  <a:pt x="5223" y="9017"/>
                  <a:pt x="5110" y="9248"/>
                  <a:pt x="4996" y="9422"/>
                </a:cubicBezTo>
                <a:cubicBezTo>
                  <a:pt x="4749" y="9855"/>
                  <a:pt x="4409" y="9913"/>
                  <a:pt x="4070" y="9797"/>
                </a:cubicBezTo>
                <a:cubicBezTo>
                  <a:pt x="3844" y="9710"/>
                  <a:pt x="3618" y="9740"/>
                  <a:pt x="3369" y="9624"/>
                </a:cubicBezTo>
                <a:cubicBezTo>
                  <a:pt x="3188" y="9508"/>
                  <a:pt x="3053" y="9740"/>
                  <a:pt x="2916" y="9883"/>
                </a:cubicBezTo>
                <a:cubicBezTo>
                  <a:pt x="2804" y="10028"/>
                  <a:pt x="2690" y="10028"/>
                  <a:pt x="2555" y="9942"/>
                </a:cubicBezTo>
                <a:cubicBezTo>
                  <a:pt x="2351" y="9797"/>
                  <a:pt x="2148" y="9710"/>
                  <a:pt x="1921" y="9681"/>
                </a:cubicBezTo>
                <a:cubicBezTo>
                  <a:pt x="1650" y="9652"/>
                  <a:pt x="1447" y="9536"/>
                  <a:pt x="1470" y="9132"/>
                </a:cubicBezTo>
                <a:cubicBezTo>
                  <a:pt x="1470" y="8989"/>
                  <a:pt x="1379" y="8873"/>
                  <a:pt x="1379" y="8728"/>
                </a:cubicBezTo>
                <a:cubicBezTo>
                  <a:pt x="1379" y="8352"/>
                  <a:pt x="1221" y="8093"/>
                  <a:pt x="950" y="7919"/>
                </a:cubicBezTo>
                <a:cubicBezTo>
                  <a:pt x="679" y="7746"/>
                  <a:pt x="520" y="7226"/>
                  <a:pt x="679" y="6936"/>
                </a:cubicBezTo>
                <a:cubicBezTo>
                  <a:pt x="836" y="6648"/>
                  <a:pt x="769" y="6446"/>
                  <a:pt x="610" y="6244"/>
                </a:cubicBezTo>
                <a:cubicBezTo>
                  <a:pt x="543" y="6156"/>
                  <a:pt x="452" y="6070"/>
                  <a:pt x="656" y="5983"/>
                </a:cubicBezTo>
                <a:cubicBezTo>
                  <a:pt x="814" y="5926"/>
                  <a:pt x="972" y="5810"/>
                  <a:pt x="1063" y="5579"/>
                </a:cubicBezTo>
                <a:cubicBezTo>
                  <a:pt x="1130" y="5405"/>
                  <a:pt x="1244" y="5348"/>
                  <a:pt x="1379" y="5261"/>
                </a:cubicBezTo>
                <a:cubicBezTo>
                  <a:pt x="1764" y="5001"/>
                  <a:pt x="1945" y="4597"/>
                  <a:pt x="1876" y="4076"/>
                </a:cubicBezTo>
                <a:cubicBezTo>
                  <a:pt x="1854" y="3846"/>
                  <a:pt x="1921" y="3730"/>
                  <a:pt x="1967" y="3585"/>
                </a:cubicBezTo>
                <a:cubicBezTo>
                  <a:pt x="2035" y="3412"/>
                  <a:pt x="2103" y="3297"/>
                  <a:pt x="2103" y="3094"/>
                </a:cubicBezTo>
                <a:cubicBezTo>
                  <a:pt x="2125" y="2892"/>
                  <a:pt x="2080" y="2690"/>
                  <a:pt x="1967" y="2574"/>
                </a:cubicBezTo>
                <a:cubicBezTo>
                  <a:pt x="1741" y="2372"/>
                  <a:pt x="1470" y="2256"/>
                  <a:pt x="1221" y="2083"/>
                </a:cubicBezTo>
                <a:cubicBezTo>
                  <a:pt x="905" y="2314"/>
                  <a:pt x="701" y="1881"/>
                  <a:pt x="430" y="1852"/>
                </a:cubicBezTo>
                <a:cubicBezTo>
                  <a:pt x="384" y="1852"/>
                  <a:pt x="339" y="1766"/>
                  <a:pt x="294" y="1736"/>
                </a:cubicBezTo>
                <a:cubicBezTo>
                  <a:pt x="181" y="1707"/>
                  <a:pt x="90" y="1678"/>
                  <a:pt x="0" y="1592"/>
                </a:cubicBezTo>
                <a:cubicBezTo>
                  <a:pt x="90" y="1476"/>
                  <a:pt x="226" y="1562"/>
                  <a:pt x="316" y="1534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4" name="Freeform 17">
            <a:extLst>
              <a:ext uri="{FF2B5EF4-FFF2-40B4-BE49-F238E27FC236}">
                <a16:creationId xmlns:a16="http://schemas.microsoft.com/office/drawing/2014/main" id="{FE158432-1D1B-4B70-A886-1D2C9EE5256A}"/>
              </a:ext>
            </a:extLst>
          </p:cNvPr>
          <p:cNvSpPr>
            <a:spLocks/>
          </p:cNvSpPr>
          <p:nvPr/>
        </p:nvSpPr>
        <p:spPr bwMode="auto">
          <a:xfrm>
            <a:off x="6969358" y="3617418"/>
            <a:ext cx="1206373" cy="847200"/>
          </a:xfrm>
          <a:custGeom>
            <a:avLst/>
            <a:gdLst>
              <a:gd name="T0" fmla="*/ 162 w 506"/>
              <a:gd name="T1" fmla="*/ 49 h 350"/>
              <a:gd name="T2" fmla="*/ 220 w 506"/>
              <a:gd name="T3" fmla="*/ 53 h 350"/>
              <a:gd name="T4" fmla="*/ 260 w 506"/>
              <a:gd name="T5" fmla="*/ 40 h 350"/>
              <a:gd name="T6" fmla="*/ 305 w 506"/>
              <a:gd name="T7" fmla="*/ 4 h 350"/>
              <a:gd name="T8" fmla="*/ 331 w 506"/>
              <a:gd name="T9" fmla="*/ 15 h 350"/>
              <a:gd name="T10" fmla="*/ 363 w 506"/>
              <a:gd name="T11" fmla="*/ 32 h 350"/>
              <a:gd name="T12" fmla="*/ 373 w 506"/>
              <a:gd name="T13" fmla="*/ 54 h 350"/>
              <a:gd name="T14" fmla="*/ 357 w 506"/>
              <a:gd name="T15" fmla="*/ 84 h 350"/>
              <a:gd name="T16" fmla="*/ 377 w 506"/>
              <a:gd name="T17" fmla="*/ 110 h 350"/>
              <a:gd name="T18" fmla="*/ 404 w 506"/>
              <a:gd name="T19" fmla="*/ 178 h 350"/>
              <a:gd name="T20" fmla="*/ 458 w 506"/>
              <a:gd name="T21" fmla="*/ 172 h 350"/>
              <a:gd name="T22" fmla="*/ 483 w 506"/>
              <a:gd name="T23" fmla="*/ 188 h 350"/>
              <a:gd name="T24" fmla="*/ 503 w 506"/>
              <a:gd name="T25" fmla="*/ 183 h 350"/>
              <a:gd name="T26" fmla="*/ 497 w 506"/>
              <a:gd name="T27" fmla="*/ 202 h 350"/>
              <a:gd name="T28" fmla="*/ 436 w 506"/>
              <a:gd name="T29" fmla="*/ 266 h 350"/>
              <a:gd name="T30" fmla="*/ 411 w 506"/>
              <a:gd name="T31" fmla="*/ 295 h 350"/>
              <a:gd name="T32" fmla="*/ 378 w 506"/>
              <a:gd name="T33" fmla="*/ 318 h 350"/>
              <a:gd name="T34" fmla="*/ 304 w 506"/>
              <a:gd name="T35" fmla="*/ 299 h 350"/>
              <a:gd name="T36" fmla="*/ 234 w 506"/>
              <a:gd name="T37" fmla="*/ 311 h 350"/>
              <a:gd name="T38" fmla="*/ 145 w 506"/>
              <a:gd name="T39" fmla="*/ 343 h 350"/>
              <a:gd name="T40" fmla="*/ 130 w 506"/>
              <a:gd name="T41" fmla="*/ 340 h 350"/>
              <a:gd name="T42" fmla="*/ 130 w 506"/>
              <a:gd name="T43" fmla="*/ 305 h 350"/>
              <a:gd name="T44" fmla="*/ 126 w 506"/>
              <a:gd name="T45" fmla="*/ 273 h 350"/>
              <a:gd name="T46" fmla="*/ 70 w 506"/>
              <a:gd name="T47" fmla="*/ 249 h 350"/>
              <a:gd name="T48" fmla="*/ 74 w 506"/>
              <a:gd name="T49" fmla="*/ 211 h 350"/>
              <a:gd name="T50" fmla="*/ 47 w 506"/>
              <a:gd name="T51" fmla="*/ 180 h 350"/>
              <a:gd name="T52" fmla="*/ 25 w 506"/>
              <a:gd name="T53" fmla="*/ 155 h 350"/>
              <a:gd name="T54" fmla="*/ 4 w 506"/>
              <a:gd name="T55" fmla="*/ 132 h 350"/>
              <a:gd name="T56" fmla="*/ 20 w 506"/>
              <a:gd name="T57" fmla="*/ 108 h 350"/>
              <a:gd name="T58" fmla="*/ 51 w 506"/>
              <a:gd name="T59" fmla="*/ 98 h 350"/>
              <a:gd name="T60" fmla="*/ 85 w 506"/>
              <a:gd name="T61" fmla="*/ 83 h 350"/>
              <a:gd name="T62" fmla="*/ 101 w 506"/>
              <a:gd name="T63" fmla="*/ 47 h 350"/>
              <a:gd name="T64" fmla="*/ 139 w 506"/>
              <a:gd name="T65" fmla="*/ 28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06" h="350">
                <a:moveTo>
                  <a:pt x="155" y="40"/>
                </a:moveTo>
                <a:cubicBezTo>
                  <a:pt x="151" y="48"/>
                  <a:pt x="156" y="49"/>
                  <a:pt x="162" y="49"/>
                </a:cubicBezTo>
                <a:cubicBezTo>
                  <a:pt x="164" y="49"/>
                  <a:pt x="165" y="50"/>
                  <a:pt x="166" y="49"/>
                </a:cubicBezTo>
                <a:cubicBezTo>
                  <a:pt x="185" y="43"/>
                  <a:pt x="202" y="49"/>
                  <a:pt x="220" y="53"/>
                </a:cubicBezTo>
                <a:cubicBezTo>
                  <a:pt x="228" y="55"/>
                  <a:pt x="236" y="52"/>
                  <a:pt x="240" y="46"/>
                </a:cubicBezTo>
                <a:cubicBezTo>
                  <a:pt x="245" y="37"/>
                  <a:pt x="252" y="38"/>
                  <a:pt x="260" y="40"/>
                </a:cubicBezTo>
                <a:cubicBezTo>
                  <a:pt x="267" y="43"/>
                  <a:pt x="272" y="42"/>
                  <a:pt x="274" y="32"/>
                </a:cubicBezTo>
                <a:cubicBezTo>
                  <a:pt x="277" y="16"/>
                  <a:pt x="294" y="12"/>
                  <a:pt x="305" y="4"/>
                </a:cubicBezTo>
                <a:cubicBezTo>
                  <a:pt x="310" y="0"/>
                  <a:pt x="312" y="10"/>
                  <a:pt x="317" y="8"/>
                </a:cubicBezTo>
                <a:cubicBezTo>
                  <a:pt x="325" y="4"/>
                  <a:pt x="328" y="8"/>
                  <a:pt x="331" y="15"/>
                </a:cubicBezTo>
                <a:cubicBezTo>
                  <a:pt x="334" y="24"/>
                  <a:pt x="342" y="26"/>
                  <a:pt x="350" y="29"/>
                </a:cubicBezTo>
                <a:cubicBezTo>
                  <a:pt x="354" y="30"/>
                  <a:pt x="359" y="30"/>
                  <a:pt x="363" y="32"/>
                </a:cubicBezTo>
                <a:cubicBezTo>
                  <a:pt x="368" y="34"/>
                  <a:pt x="373" y="36"/>
                  <a:pt x="370" y="43"/>
                </a:cubicBezTo>
                <a:cubicBezTo>
                  <a:pt x="368" y="47"/>
                  <a:pt x="372" y="51"/>
                  <a:pt x="373" y="54"/>
                </a:cubicBezTo>
                <a:cubicBezTo>
                  <a:pt x="379" y="68"/>
                  <a:pt x="379" y="69"/>
                  <a:pt x="366" y="76"/>
                </a:cubicBezTo>
                <a:cubicBezTo>
                  <a:pt x="363" y="78"/>
                  <a:pt x="359" y="80"/>
                  <a:pt x="357" y="84"/>
                </a:cubicBezTo>
                <a:cubicBezTo>
                  <a:pt x="353" y="94"/>
                  <a:pt x="357" y="103"/>
                  <a:pt x="368" y="107"/>
                </a:cubicBezTo>
                <a:cubicBezTo>
                  <a:pt x="371" y="108"/>
                  <a:pt x="374" y="109"/>
                  <a:pt x="377" y="110"/>
                </a:cubicBezTo>
                <a:cubicBezTo>
                  <a:pt x="398" y="116"/>
                  <a:pt x="398" y="116"/>
                  <a:pt x="391" y="136"/>
                </a:cubicBezTo>
                <a:cubicBezTo>
                  <a:pt x="385" y="155"/>
                  <a:pt x="389" y="168"/>
                  <a:pt x="404" y="178"/>
                </a:cubicBezTo>
                <a:cubicBezTo>
                  <a:pt x="407" y="180"/>
                  <a:pt x="412" y="183"/>
                  <a:pt x="415" y="181"/>
                </a:cubicBezTo>
                <a:cubicBezTo>
                  <a:pt x="428" y="172"/>
                  <a:pt x="444" y="179"/>
                  <a:pt x="458" y="172"/>
                </a:cubicBezTo>
                <a:cubicBezTo>
                  <a:pt x="466" y="167"/>
                  <a:pt x="467" y="168"/>
                  <a:pt x="470" y="180"/>
                </a:cubicBezTo>
                <a:cubicBezTo>
                  <a:pt x="472" y="187"/>
                  <a:pt x="476" y="190"/>
                  <a:pt x="483" y="188"/>
                </a:cubicBezTo>
                <a:cubicBezTo>
                  <a:pt x="487" y="187"/>
                  <a:pt x="490" y="185"/>
                  <a:pt x="494" y="183"/>
                </a:cubicBezTo>
                <a:cubicBezTo>
                  <a:pt x="497" y="182"/>
                  <a:pt x="500" y="180"/>
                  <a:pt x="503" y="183"/>
                </a:cubicBezTo>
                <a:cubicBezTo>
                  <a:pt x="506" y="186"/>
                  <a:pt x="505" y="190"/>
                  <a:pt x="503" y="194"/>
                </a:cubicBezTo>
                <a:cubicBezTo>
                  <a:pt x="501" y="197"/>
                  <a:pt x="500" y="200"/>
                  <a:pt x="497" y="202"/>
                </a:cubicBezTo>
                <a:cubicBezTo>
                  <a:pt x="483" y="212"/>
                  <a:pt x="475" y="228"/>
                  <a:pt x="460" y="237"/>
                </a:cubicBezTo>
                <a:cubicBezTo>
                  <a:pt x="449" y="244"/>
                  <a:pt x="444" y="257"/>
                  <a:pt x="436" y="266"/>
                </a:cubicBezTo>
                <a:cubicBezTo>
                  <a:pt x="433" y="270"/>
                  <a:pt x="432" y="276"/>
                  <a:pt x="426" y="278"/>
                </a:cubicBezTo>
                <a:cubicBezTo>
                  <a:pt x="418" y="281"/>
                  <a:pt x="414" y="287"/>
                  <a:pt x="411" y="295"/>
                </a:cubicBezTo>
                <a:cubicBezTo>
                  <a:pt x="407" y="306"/>
                  <a:pt x="394" y="311"/>
                  <a:pt x="385" y="319"/>
                </a:cubicBezTo>
                <a:cubicBezTo>
                  <a:pt x="382" y="320"/>
                  <a:pt x="380" y="321"/>
                  <a:pt x="378" y="318"/>
                </a:cubicBezTo>
                <a:cubicBezTo>
                  <a:pt x="372" y="306"/>
                  <a:pt x="356" y="309"/>
                  <a:pt x="349" y="299"/>
                </a:cubicBezTo>
                <a:cubicBezTo>
                  <a:pt x="334" y="299"/>
                  <a:pt x="319" y="288"/>
                  <a:pt x="304" y="299"/>
                </a:cubicBezTo>
                <a:cubicBezTo>
                  <a:pt x="300" y="302"/>
                  <a:pt x="294" y="304"/>
                  <a:pt x="289" y="302"/>
                </a:cubicBezTo>
                <a:cubicBezTo>
                  <a:pt x="269" y="298"/>
                  <a:pt x="252" y="305"/>
                  <a:pt x="234" y="311"/>
                </a:cubicBezTo>
                <a:cubicBezTo>
                  <a:pt x="208" y="320"/>
                  <a:pt x="183" y="334"/>
                  <a:pt x="155" y="337"/>
                </a:cubicBezTo>
                <a:cubicBezTo>
                  <a:pt x="151" y="337"/>
                  <a:pt x="148" y="340"/>
                  <a:pt x="145" y="343"/>
                </a:cubicBezTo>
                <a:cubicBezTo>
                  <a:pt x="143" y="345"/>
                  <a:pt x="141" y="348"/>
                  <a:pt x="139" y="350"/>
                </a:cubicBezTo>
                <a:cubicBezTo>
                  <a:pt x="136" y="347"/>
                  <a:pt x="131" y="344"/>
                  <a:pt x="130" y="340"/>
                </a:cubicBezTo>
                <a:cubicBezTo>
                  <a:pt x="126" y="333"/>
                  <a:pt x="123" y="324"/>
                  <a:pt x="122" y="316"/>
                </a:cubicBezTo>
                <a:cubicBezTo>
                  <a:pt x="120" y="310"/>
                  <a:pt x="126" y="308"/>
                  <a:pt x="130" y="305"/>
                </a:cubicBezTo>
                <a:cubicBezTo>
                  <a:pt x="141" y="297"/>
                  <a:pt x="141" y="294"/>
                  <a:pt x="137" y="283"/>
                </a:cubicBezTo>
                <a:cubicBezTo>
                  <a:pt x="136" y="277"/>
                  <a:pt x="132" y="274"/>
                  <a:pt x="126" y="273"/>
                </a:cubicBezTo>
                <a:cubicBezTo>
                  <a:pt x="106" y="271"/>
                  <a:pt x="89" y="261"/>
                  <a:pt x="71" y="253"/>
                </a:cubicBezTo>
                <a:cubicBezTo>
                  <a:pt x="68" y="252"/>
                  <a:pt x="65" y="251"/>
                  <a:pt x="70" y="249"/>
                </a:cubicBezTo>
                <a:cubicBezTo>
                  <a:pt x="75" y="247"/>
                  <a:pt x="76" y="242"/>
                  <a:pt x="79" y="238"/>
                </a:cubicBezTo>
                <a:cubicBezTo>
                  <a:pt x="88" y="226"/>
                  <a:pt x="86" y="219"/>
                  <a:pt x="74" y="211"/>
                </a:cubicBezTo>
                <a:cubicBezTo>
                  <a:pt x="67" y="207"/>
                  <a:pt x="59" y="205"/>
                  <a:pt x="53" y="199"/>
                </a:cubicBezTo>
                <a:cubicBezTo>
                  <a:pt x="48" y="194"/>
                  <a:pt x="44" y="189"/>
                  <a:pt x="47" y="180"/>
                </a:cubicBezTo>
                <a:cubicBezTo>
                  <a:pt x="51" y="170"/>
                  <a:pt x="48" y="167"/>
                  <a:pt x="38" y="165"/>
                </a:cubicBezTo>
                <a:cubicBezTo>
                  <a:pt x="32" y="164"/>
                  <a:pt x="27" y="162"/>
                  <a:pt x="25" y="155"/>
                </a:cubicBezTo>
                <a:cubicBezTo>
                  <a:pt x="24" y="147"/>
                  <a:pt x="18" y="145"/>
                  <a:pt x="11" y="145"/>
                </a:cubicBezTo>
                <a:cubicBezTo>
                  <a:pt x="1" y="144"/>
                  <a:pt x="0" y="142"/>
                  <a:pt x="4" y="132"/>
                </a:cubicBezTo>
                <a:cubicBezTo>
                  <a:pt x="6" y="128"/>
                  <a:pt x="8" y="124"/>
                  <a:pt x="9" y="119"/>
                </a:cubicBezTo>
                <a:cubicBezTo>
                  <a:pt x="10" y="113"/>
                  <a:pt x="14" y="110"/>
                  <a:pt x="20" y="108"/>
                </a:cubicBezTo>
                <a:cubicBezTo>
                  <a:pt x="27" y="105"/>
                  <a:pt x="34" y="102"/>
                  <a:pt x="41" y="99"/>
                </a:cubicBezTo>
                <a:cubicBezTo>
                  <a:pt x="45" y="98"/>
                  <a:pt x="48" y="97"/>
                  <a:pt x="51" y="98"/>
                </a:cubicBezTo>
                <a:cubicBezTo>
                  <a:pt x="55" y="100"/>
                  <a:pt x="58" y="106"/>
                  <a:pt x="63" y="101"/>
                </a:cubicBezTo>
                <a:cubicBezTo>
                  <a:pt x="70" y="94"/>
                  <a:pt x="83" y="96"/>
                  <a:pt x="85" y="83"/>
                </a:cubicBezTo>
                <a:cubicBezTo>
                  <a:pt x="86" y="77"/>
                  <a:pt x="90" y="72"/>
                  <a:pt x="93" y="67"/>
                </a:cubicBezTo>
                <a:cubicBezTo>
                  <a:pt x="98" y="62"/>
                  <a:pt x="100" y="55"/>
                  <a:pt x="101" y="47"/>
                </a:cubicBezTo>
                <a:cubicBezTo>
                  <a:pt x="103" y="34"/>
                  <a:pt x="104" y="34"/>
                  <a:pt x="116" y="34"/>
                </a:cubicBezTo>
                <a:cubicBezTo>
                  <a:pt x="124" y="33"/>
                  <a:pt x="131" y="32"/>
                  <a:pt x="139" y="28"/>
                </a:cubicBezTo>
                <a:cubicBezTo>
                  <a:pt x="150" y="23"/>
                  <a:pt x="155" y="27"/>
                  <a:pt x="155" y="4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5" name="Freeform 18">
            <a:extLst>
              <a:ext uri="{FF2B5EF4-FFF2-40B4-BE49-F238E27FC236}">
                <a16:creationId xmlns:a16="http://schemas.microsoft.com/office/drawing/2014/main" id="{3B022FB3-2331-4684-A3D2-ACB071FEC514}"/>
              </a:ext>
            </a:extLst>
          </p:cNvPr>
          <p:cNvSpPr>
            <a:spLocks/>
          </p:cNvSpPr>
          <p:nvPr/>
        </p:nvSpPr>
        <p:spPr bwMode="auto">
          <a:xfrm>
            <a:off x="5557681" y="1495386"/>
            <a:ext cx="881703" cy="995661"/>
          </a:xfrm>
          <a:custGeom>
            <a:avLst/>
            <a:gdLst>
              <a:gd name="T0" fmla="*/ 121 w 370"/>
              <a:gd name="T1" fmla="*/ 70 h 411"/>
              <a:gd name="T2" fmla="*/ 151 w 370"/>
              <a:gd name="T3" fmla="*/ 15 h 411"/>
              <a:gd name="T4" fmla="*/ 209 w 370"/>
              <a:gd name="T5" fmla="*/ 11 h 411"/>
              <a:gd name="T6" fmla="*/ 255 w 370"/>
              <a:gd name="T7" fmla="*/ 2 h 411"/>
              <a:gd name="T8" fmla="*/ 314 w 370"/>
              <a:gd name="T9" fmla="*/ 27 h 411"/>
              <a:gd name="T10" fmla="*/ 349 w 370"/>
              <a:gd name="T11" fmla="*/ 34 h 411"/>
              <a:gd name="T12" fmla="*/ 353 w 370"/>
              <a:gd name="T13" fmla="*/ 96 h 411"/>
              <a:gd name="T14" fmla="*/ 324 w 370"/>
              <a:gd name="T15" fmla="*/ 125 h 411"/>
              <a:gd name="T16" fmla="*/ 291 w 370"/>
              <a:gd name="T17" fmla="*/ 160 h 411"/>
              <a:gd name="T18" fmla="*/ 301 w 370"/>
              <a:gd name="T19" fmla="*/ 183 h 411"/>
              <a:gd name="T20" fmla="*/ 301 w 370"/>
              <a:gd name="T21" fmla="*/ 211 h 411"/>
              <a:gd name="T22" fmla="*/ 331 w 370"/>
              <a:gd name="T23" fmla="*/ 250 h 411"/>
              <a:gd name="T24" fmla="*/ 342 w 370"/>
              <a:gd name="T25" fmla="*/ 285 h 411"/>
              <a:gd name="T26" fmla="*/ 287 w 370"/>
              <a:gd name="T27" fmla="*/ 312 h 411"/>
              <a:gd name="T28" fmla="*/ 276 w 370"/>
              <a:gd name="T29" fmla="*/ 342 h 411"/>
              <a:gd name="T30" fmla="*/ 296 w 370"/>
              <a:gd name="T31" fmla="*/ 358 h 411"/>
              <a:gd name="T32" fmla="*/ 277 w 370"/>
              <a:gd name="T33" fmla="*/ 393 h 411"/>
              <a:gd name="T34" fmla="*/ 218 w 370"/>
              <a:gd name="T35" fmla="*/ 397 h 411"/>
              <a:gd name="T36" fmla="*/ 174 w 370"/>
              <a:gd name="T37" fmla="*/ 393 h 411"/>
              <a:gd name="T38" fmla="*/ 200 w 370"/>
              <a:gd name="T39" fmla="*/ 385 h 411"/>
              <a:gd name="T40" fmla="*/ 220 w 370"/>
              <a:gd name="T41" fmla="*/ 348 h 411"/>
              <a:gd name="T42" fmla="*/ 165 w 370"/>
              <a:gd name="T43" fmla="*/ 310 h 411"/>
              <a:gd name="T44" fmla="*/ 76 w 370"/>
              <a:gd name="T45" fmla="*/ 268 h 411"/>
              <a:gd name="T46" fmla="*/ 38 w 370"/>
              <a:gd name="T47" fmla="*/ 191 h 411"/>
              <a:gd name="T48" fmla="*/ 12 w 370"/>
              <a:gd name="T49" fmla="*/ 144 h 411"/>
              <a:gd name="T50" fmla="*/ 4 w 370"/>
              <a:gd name="T51" fmla="*/ 131 h 411"/>
              <a:gd name="T52" fmla="*/ 47 w 370"/>
              <a:gd name="T53" fmla="*/ 106 h 411"/>
              <a:gd name="T54" fmla="*/ 40 w 370"/>
              <a:gd name="T55" fmla="*/ 52 h 411"/>
              <a:gd name="T56" fmla="*/ 49 w 370"/>
              <a:gd name="T57" fmla="*/ 24 h 411"/>
              <a:gd name="T58" fmla="*/ 81 w 370"/>
              <a:gd name="T59" fmla="*/ 24 h 411"/>
              <a:gd name="T60" fmla="*/ 97 w 370"/>
              <a:gd name="T61" fmla="*/ 112 h 411"/>
              <a:gd name="T62" fmla="*/ 117 w 370"/>
              <a:gd name="T63" fmla="*/ 1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70" h="411">
                <a:moveTo>
                  <a:pt x="121" y="84"/>
                </a:moveTo>
                <a:cubicBezTo>
                  <a:pt x="121" y="79"/>
                  <a:pt x="123" y="74"/>
                  <a:pt x="121" y="70"/>
                </a:cubicBezTo>
                <a:cubicBezTo>
                  <a:pt x="117" y="58"/>
                  <a:pt x="121" y="47"/>
                  <a:pt x="124" y="36"/>
                </a:cubicBezTo>
                <a:cubicBezTo>
                  <a:pt x="128" y="21"/>
                  <a:pt x="137" y="16"/>
                  <a:pt x="151" y="15"/>
                </a:cubicBezTo>
                <a:cubicBezTo>
                  <a:pt x="161" y="14"/>
                  <a:pt x="172" y="12"/>
                  <a:pt x="182" y="15"/>
                </a:cubicBezTo>
                <a:cubicBezTo>
                  <a:pt x="192" y="18"/>
                  <a:pt x="201" y="17"/>
                  <a:pt x="209" y="11"/>
                </a:cubicBezTo>
                <a:cubicBezTo>
                  <a:pt x="215" y="6"/>
                  <a:pt x="222" y="5"/>
                  <a:pt x="229" y="5"/>
                </a:cubicBezTo>
                <a:cubicBezTo>
                  <a:pt x="238" y="5"/>
                  <a:pt x="246" y="6"/>
                  <a:pt x="255" y="2"/>
                </a:cubicBezTo>
                <a:cubicBezTo>
                  <a:pt x="260" y="0"/>
                  <a:pt x="265" y="1"/>
                  <a:pt x="270" y="4"/>
                </a:cubicBezTo>
                <a:cubicBezTo>
                  <a:pt x="284" y="12"/>
                  <a:pt x="299" y="20"/>
                  <a:pt x="314" y="27"/>
                </a:cubicBezTo>
                <a:cubicBezTo>
                  <a:pt x="319" y="30"/>
                  <a:pt x="323" y="34"/>
                  <a:pt x="330" y="31"/>
                </a:cubicBezTo>
                <a:cubicBezTo>
                  <a:pt x="337" y="28"/>
                  <a:pt x="343" y="33"/>
                  <a:pt x="349" y="34"/>
                </a:cubicBezTo>
                <a:cubicBezTo>
                  <a:pt x="365" y="38"/>
                  <a:pt x="370" y="49"/>
                  <a:pt x="362" y="62"/>
                </a:cubicBezTo>
                <a:cubicBezTo>
                  <a:pt x="355" y="73"/>
                  <a:pt x="352" y="84"/>
                  <a:pt x="353" y="96"/>
                </a:cubicBezTo>
                <a:cubicBezTo>
                  <a:pt x="354" y="108"/>
                  <a:pt x="349" y="116"/>
                  <a:pt x="336" y="119"/>
                </a:cubicBezTo>
                <a:cubicBezTo>
                  <a:pt x="332" y="120"/>
                  <a:pt x="326" y="122"/>
                  <a:pt x="324" y="125"/>
                </a:cubicBezTo>
                <a:cubicBezTo>
                  <a:pt x="317" y="136"/>
                  <a:pt x="309" y="146"/>
                  <a:pt x="294" y="147"/>
                </a:cubicBezTo>
                <a:cubicBezTo>
                  <a:pt x="288" y="147"/>
                  <a:pt x="287" y="155"/>
                  <a:pt x="291" y="160"/>
                </a:cubicBezTo>
                <a:cubicBezTo>
                  <a:pt x="294" y="163"/>
                  <a:pt x="296" y="166"/>
                  <a:pt x="299" y="168"/>
                </a:cubicBezTo>
                <a:cubicBezTo>
                  <a:pt x="306" y="173"/>
                  <a:pt x="307" y="177"/>
                  <a:pt x="301" y="183"/>
                </a:cubicBezTo>
                <a:cubicBezTo>
                  <a:pt x="297" y="187"/>
                  <a:pt x="296" y="192"/>
                  <a:pt x="299" y="197"/>
                </a:cubicBezTo>
                <a:cubicBezTo>
                  <a:pt x="301" y="201"/>
                  <a:pt x="300" y="206"/>
                  <a:pt x="301" y="211"/>
                </a:cubicBezTo>
                <a:cubicBezTo>
                  <a:pt x="302" y="219"/>
                  <a:pt x="306" y="226"/>
                  <a:pt x="315" y="228"/>
                </a:cubicBezTo>
                <a:cubicBezTo>
                  <a:pt x="327" y="231"/>
                  <a:pt x="336" y="235"/>
                  <a:pt x="331" y="250"/>
                </a:cubicBezTo>
                <a:cubicBezTo>
                  <a:pt x="340" y="257"/>
                  <a:pt x="330" y="272"/>
                  <a:pt x="342" y="278"/>
                </a:cubicBezTo>
                <a:cubicBezTo>
                  <a:pt x="345" y="280"/>
                  <a:pt x="344" y="283"/>
                  <a:pt x="342" y="285"/>
                </a:cubicBezTo>
                <a:cubicBezTo>
                  <a:pt x="330" y="297"/>
                  <a:pt x="320" y="313"/>
                  <a:pt x="298" y="306"/>
                </a:cubicBezTo>
                <a:cubicBezTo>
                  <a:pt x="293" y="304"/>
                  <a:pt x="289" y="309"/>
                  <a:pt x="287" y="312"/>
                </a:cubicBezTo>
                <a:cubicBezTo>
                  <a:pt x="282" y="320"/>
                  <a:pt x="279" y="327"/>
                  <a:pt x="275" y="335"/>
                </a:cubicBezTo>
                <a:cubicBezTo>
                  <a:pt x="273" y="338"/>
                  <a:pt x="274" y="340"/>
                  <a:pt x="276" y="342"/>
                </a:cubicBezTo>
                <a:cubicBezTo>
                  <a:pt x="278" y="343"/>
                  <a:pt x="280" y="344"/>
                  <a:pt x="281" y="345"/>
                </a:cubicBezTo>
                <a:cubicBezTo>
                  <a:pt x="286" y="350"/>
                  <a:pt x="295" y="351"/>
                  <a:pt x="296" y="358"/>
                </a:cubicBezTo>
                <a:cubicBezTo>
                  <a:pt x="297" y="365"/>
                  <a:pt x="293" y="373"/>
                  <a:pt x="292" y="381"/>
                </a:cubicBezTo>
                <a:cubicBezTo>
                  <a:pt x="291" y="387"/>
                  <a:pt x="282" y="389"/>
                  <a:pt x="277" y="393"/>
                </a:cubicBezTo>
                <a:cubicBezTo>
                  <a:pt x="271" y="397"/>
                  <a:pt x="266" y="403"/>
                  <a:pt x="259" y="394"/>
                </a:cubicBezTo>
                <a:cubicBezTo>
                  <a:pt x="245" y="394"/>
                  <a:pt x="231" y="385"/>
                  <a:pt x="218" y="397"/>
                </a:cubicBezTo>
                <a:cubicBezTo>
                  <a:pt x="210" y="404"/>
                  <a:pt x="198" y="401"/>
                  <a:pt x="189" y="408"/>
                </a:cubicBezTo>
                <a:cubicBezTo>
                  <a:pt x="184" y="411"/>
                  <a:pt x="172" y="398"/>
                  <a:pt x="174" y="393"/>
                </a:cubicBezTo>
                <a:cubicBezTo>
                  <a:pt x="175" y="391"/>
                  <a:pt x="177" y="390"/>
                  <a:pt x="179" y="389"/>
                </a:cubicBezTo>
                <a:cubicBezTo>
                  <a:pt x="186" y="386"/>
                  <a:pt x="193" y="385"/>
                  <a:pt x="200" y="385"/>
                </a:cubicBezTo>
                <a:cubicBezTo>
                  <a:pt x="211" y="386"/>
                  <a:pt x="218" y="380"/>
                  <a:pt x="224" y="373"/>
                </a:cubicBezTo>
                <a:cubicBezTo>
                  <a:pt x="232" y="363"/>
                  <a:pt x="231" y="356"/>
                  <a:pt x="220" y="348"/>
                </a:cubicBezTo>
                <a:cubicBezTo>
                  <a:pt x="212" y="342"/>
                  <a:pt x="205" y="336"/>
                  <a:pt x="195" y="332"/>
                </a:cubicBezTo>
                <a:cubicBezTo>
                  <a:pt x="183" y="327"/>
                  <a:pt x="176" y="315"/>
                  <a:pt x="165" y="310"/>
                </a:cubicBezTo>
                <a:cubicBezTo>
                  <a:pt x="163" y="309"/>
                  <a:pt x="162" y="306"/>
                  <a:pt x="160" y="306"/>
                </a:cubicBezTo>
                <a:cubicBezTo>
                  <a:pt x="132" y="294"/>
                  <a:pt x="105" y="279"/>
                  <a:pt x="76" y="268"/>
                </a:cubicBezTo>
                <a:cubicBezTo>
                  <a:pt x="63" y="263"/>
                  <a:pt x="52" y="256"/>
                  <a:pt x="45" y="241"/>
                </a:cubicBezTo>
                <a:cubicBezTo>
                  <a:pt x="37" y="224"/>
                  <a:pt x="37" y="208"/>
                  <a:pt x="38" y="191"/>
                </a:cubicBezTo>
                <a:cubicBezTo>
                  <a:pt x="38" y="181"/>
                  <a:pt x="36" y="172"/>
                  <a:pt x="26" y="166"/>
                </a:cubicBezTo>
                <a:cubicBezTo>
                  <a:pt x="19" y="162"/>
                  <a:pt x="9" y="156"/>
                  <a:pt x="12" y="144"/>
                </a:cubicBezTo>
                <a:cubicBezTo>
                  <a:pt x="12" y="143"/>
                  <a:pt x="11" y="142"/>
                  <a:pt x="10" y="141"/>
                </a:cubicBezTo>
                <a:cubicBezTo>
                  <a:pt x="9" y="137"/>
                  <a:pt x="0" y="138"/>
                  <a:pt x="4" y="131"/>
                </a:cubicBezTo>
                <a:cubicBezTo>
                  <a:pt x="5" y="129"/>
                  <a:pt x="11" y="129"/>
                  <a:pt x="15" y="129"/>
                </a:cubicBezTo>
                <a:cubicBezTo>
                  <a:pt x="30" y="128"/>
                  <a:pt x="39" y="117"/>
                  <a:pt x="47" y="106"/>
                </a:cubicBezTo>
                <a:cubicBezTo>
                  <a:pt x="52" y="100"/>
                  <a:pt x="56" y="91"/>
                  <a:pt x="52" y="82"/>
                </a:cubicBezTo>
                <a:cubicBezTo>
                  <a:pt x="46" y="73"/>
                  <a:pt x="54" y="59"/>
                  <a:pt x="40" y="52"/>
                </a:cubicBezTo>
                <a:cubicBezTo>
                  <a:pt x="38" y="51"/>
                  <a:pt x="41" y="48"/>
                  <a:pt x="41" y="47"/>
                </a:cubicBezTo>
                <a:cubicBezTo>
                  <a:pt x="44" y="39"/>
                  <a:pt x="47" y="32"/>
                  <a:pt x="49" y="24"/>
                </a:cubicBezTo>
                <a:cubicBezTo>
                  <a:pt x="51" y="16"/>
                  <a:pt x="56" y="13"/>
                  <a:pt x="63" y="11"/>
                </a:cubicBezTo>
                <a:cubicBezTo>
                  <a:pt x="67" y="10"/>
                  <a:pt x="79" y="18"/>
                  <a:pt x="81" y="24"/>
                </a:cubicBezTo>
                <a:cubicBezTo>
                  <a:pt x="89" y="47"/>
                  <a:pt x="95" y="71"/>
                  <a:pt x="91" y="96"/>
                </a:cubicBezTo>
                <a:cubicBezTo>
                  <a:pt x="89" y="104"/>
                  <a:pt x="90" y="108"/>
                  <a:pt x="97" y="112"/>
                </a:cubicBezTo>
                <a:cubicBezTo>
                  <a:pt x="99" y="113"/>
                  <a:pt x="101" y="115"/>
                  <a:pt x="103" y="117"/>
                </a:cubicBezTo>
                <a:cubicBezTo>
                  <a:pt x="110" y="121"/>
                  <a:pt x="114" y="120"/>
                  <a:pt x="117" y="113"/>
                </a:cubicBezTo>
                <a:cubicBezTo>
                  <a:pt x="120" y="104"/>
                  <a:pt x="124" y="94"/>
                  <a:pt x="121" y="84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6" name="Freeform 19">
            <a:extLst>
              <a:ext uri="{FF2B5EF4-FFF2-40B4-BE49-F238E27FC236}">
                <a16:creationId xmlns:a16="http://schemas.microsoft.com/office/drawing/2014/main" id="{4C927669-0F33-407C-9CA9-56A6199F5DDC}"/>
              </a:ext>
            </a:extLst>
          </p:cNvPr>
          <p:cNvSpPr>
            <a:spLocks/>
          </p:cNvSpPr>
          <p:nvPr/>
        </p:nvSpPr>
        <p:spPr bwMode="auto">
          <a:xfrm>
            <a:off x="6366172" y="3068756"/>
            <a:ext cx="937407" cy="1169941"/>
          </a:xfrm>
          <a:custGeom>
            <a:avLst/>
            <a:gdLst>
              <a:gd name="T0" fmla="*/ 353 w 393"/>
              <a:gd name="T1" fmla="*/ 99 h 483"/>
              <a:gd name="T2" fmla="*/ 344 w 393"/>
              <a:gd name="T3" fmla="*/ 157 h 483"/>
              <a:gd name="T4" fmla="*/ 391 w 393"/>
              <a:gd name="T5" fmla="*/ 189 h 483"/>
              <a:gd name="T6" fmla="*/ 384 w 393"/>
              <a:gd name="T7" fmla="*/ 238 h 483"/>
              <a:gd name="T8" fmla="*/ 359 w 393"/>
              <a:gd name="T9" fmla="*/ 247 h 483"/>
              <a:gd name="T10" fmla="*/ 315 w 393"/>
              <a:gd name="T11" fmla="*/ 315 h 483"/>
              <a:gd name="T12" fmla="*/ 293 w 393"/>
              <a:gd name="T13" fmla="*/ 313 h 483"/>
              <a:gd name="T14" fmla="*/ 250 w 393"/>
              <a:gd name="T15" fmla="*/ 339 h 483"/>
              <a:gd name="T16" fmla="*/ 251 w 393"/>
              <a:gd name="T17" fmla="*/ 383 h 483"/>
              <a:gd name="T18" fmla="*/ 287 w 393"/>
              <a:gd name="T19" fmla="*/ 408 h 483"/>
              <a:gd name="T20" fmla="*/ 317 w 393"/>
              <a:gd name="T21" fmla="*/ 445 h 483"/>
              <a:gd name="T22" fmla="*/ 299 w 393"/>
              <a:gd name="T23" fmla="*/ 480 h 483"/>
              <a:gd name="T24" fmla="*/ 275 w 393"/>
              <a:gd name="T25" fmla="*/ 464 h 483"/>
              <a:gd name="T26" fmla="*/ 203 w 393"/>
              <a:gd name="T27" fmla="*/ 433 h 483"/>
              <a:gd name="T28" fmla="*/ 195 w 393"/>
              <a:gd name="T29" fmla="*/ 407 h 483"/>
              <a:gd name="T30" fmla="*/ 149 w 393"/>
              <a:gd name="T31" fmla="*/ 382 h 483"/>
              <a:gd name="T32" fmla="*/ 121 w 393"/>
              <a:gd name="T33" fmla="*/ 369 h 483"/>
              <a:gd name="T34" fmla="*/ 78 w 393"/>
              <a:gd name="T35" fmla="*/ 363 h 483"/>
              <a:gd name="T36" fmla="*/ 69 w 393"/>
              <a:gd name="T37" fmla="*/ 324 h 483"/>
              <a:gd name="T38" fmla="*/ 31 w 393"/>
              <a:gd name="T39" fmla="*/ 287 h 483"/>
              <a:gd name="T40" fmla="*/ 10 w 393"/>
              <a:gd name="T41" fmla="*/ 259 h 483"/>
              <a:gd name="T42" fmla="*/ 32 w 393"/>
              <a:gd name="T43" fmla="*/ 251 h 483"/>
              <a:gd name="T44" fmla="*/ 82 w 393"/>
              <a:gd name="T45" fmla="*/ 250 h 483"/>
              <a:gd name="T46" fmla="*/ 113 w 393"/>
              <a:gd name="T47" fmla="*/ 209 h 483"/>
              <a:gd name="T48" fmla="*/ 128 w 393"/>
              <a:gd name="T49" fmla="*/ 139 h 483"/>
              <a:gd name="T50" fmla="*/ 139 w 393"/>
              <a:gd name="T51" fmla="*/ 119 h 483"/>
              <a:gd name="T52" fmla="*/ 169 w 393"/>
              <a:gd name="T53" fmla="*/ 94 h 483"/>
              <a:gd name="T54" fmla="*/ 186 w 393"/>
              <a:gd name="T55" fmla="*/ 73 h 483"/>
              <a:gd name="T56" fmla="*/ 232 w 393"/>
              <a:gd name="T57" fmla="*/ 67 h 483"/>
              <a:gd name="T58" fmla="*/ 276 w 393"/>
              <a:gd name="T59" fmla="*/ 31 h 483"/>
              <a:gd name="T60" fmla="*/ 314 w 393"/>
              <a:gd name="T61" fmla="*/ 7 h 483"/>
              <a:gd name="T62" fmla="*/ 343 w 393"/>
              <a:gd name="T63" fmla="*/ 48 h 483"/>
              <a:gd name="T64" fmla="*/ 349 w 393"/>
              <a:gd name="T65" fmla="*/ 75 h 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93" h="483">
                <a:moveTo>
                  <a:pt x="349" y="75"/>
                </a:moveTo>
                <a:cubicBezTo>
                  <a:pt x="349" y="83"/>
                  <a:pt x="350" y="91"/>
                  <a:pt x="353" y="99"/>
                </a:cubicBezTo>
                <a:cubicBezTo>
                  <a:pt x="356" y="109"/>
                  <a:pt x="358" y="123"/>
                  <a:pt x="345" y="131"/>
                </a:cubicBezTo>
                <a:cubicBezTo>
                  <a:pt x="339" y="134"/>
                  <a:pt x="340" y="151"/>
                  <a:pt x="344" y="157"/>
                </a:cubicBezTo>
                <a:cubicBezTo>
                  <a:pt x="354" y="169"/>
                  <a:pt x="367" y="173"/>
                  <a:pt x="381" y="175"/>
                </a:cubicBezTo>
                <a:cubicBezTo>
                  <a:pt x="393" y="177"/>
                  <a:pt x="393" y="178"/>
                  <a:pt x="391" y="189"/>
                </a:cubicBezTo>
                <a:cubicBezTo>
                  <a:pt x="390" y="199"/>
                  <a:pt x="389" y="208"/>
                  <a:pt x="381" y="216"/>
                </a:cubicBezTo>
                <a:cubicBezTo>
                  <a:pt x="374" y="223"/>
                  <a:pt x="379" y="232"/>
                  <a:pt x="384" y="238"/>
                </a:cubicBezTo>
                <a:cubicBezTo>
                  <a:pt x="391" y="244"/>
                  <a:pt x="386" y="246"/>
                  <a:pt x="381" y="246"/>
                </a:cubicBezTo>
                <a:cubicBezTo>
                  <a:pt x="374" y="247"/>
                  <a:pt x="367" y="247"/>
                  <a:pt x="359" y="247"/>
                </a:cubicBezTo>
                <a:cubicBezTo>
                  <a:pt x="346" y="248"/>
                  <a:pt x="347" y="248"/>
                  <a:pt x="344" y="262"/>
                </a:cubicBezTo>
                <a:cubicBezTo>
                  <a:pt x="341" y="283"/>
                  <a:pt x="333" y="302"/>
                  <a:pt x="315" y="315"/>
                </a:cubicBezTo>
                <a:cubicBezTo>
                  <a:pt x="311" y="318"/>
                  <a:pt x="310" y="316"/>
                  <a:pt x="307" y="313"/>
                </a:cubicBezTo>
                <a:cubicBezTo>
                  <a:pt x="302" y="307"/>
                  <a:pt x="298" y="308"/>
                  <a:pt x="293" y="313"/>
                </a:cubicBezTo>
                <a:cubicBezTo>
                  <a:pt x="284" y="321"/>
                  <a:pt x="273" y="323"/>
                  <a:pt x="262" y="325"/>
                </a:cubicBezTo>
                <a:cubicBezTo>
                  <a:pt x="253" y="326"/>
                  <a:pt x="249" y="330"/>
                  <a:pt x="250" y="339"/>
                </a:cubicBezTo>
                <a:cubicBezTo>
                  <a:pt x="251" y="348"/>
                  <a:pt x="247" y="356"/>
                  <a:pt x="243" y="364"/>
                </a:cubicBezTo>
                <a:cubicBezTo>
                  <a:pt x="238" y="374"/>
                  <a:pt x="240" y="382"/>
                  <a:pt x="251" y="383"/>
                </a:cubicBezTo>
                <a:cubicBezTo>
                  <a:pt x="266" y="385"/>
                  <a:pt x="272" y="400"/>
                  <a:pt x="286" y="404"/>
                </a:cubicBezTo>
                <a:cubicBezTo>
                  <a:pt x="288" y="404"/>
                  <a:pt x="288" y="406"/>
                  <a:pt x="287" y="408"/>
                </a:cubicBezTo>
                <a:cubicBezTo>
                  <a:pt x="282" y="422"/>
                  <a:pt x="292" y="428"/>
                  <a:pt x="300" y="434"/>
                </a:cubicBezTo>
                <a:cubicBezTo>
                  <a:pt x="306" y="438"/>
                  <a:pt x="312" y="441"/>
                  <a:pt x="317" y="445"/>
                </a:cubicBezTo>
                <a:cubicBezTo>
                  <a:pt x="328" y="453"/>
                  <a:pt x="328" y="459"/>
                  <a:pt x="316" y="467"/>
                </a:cubicBezTo>
                <a:cubicBezTo>
                  <a:pt x="310" y="470"/>
                  <a:pt x="305" y="475"/>
                  <a:pt x="299" y="480"/>
                </a:cubicBezTo>
                <a:cubicBezTo>
                  <a:pt x="295" y="483"/>
                  <a:pt x="291" y="482"/>
                  <a:pt x="291" y="477"/>
                </a:cubicBezTo>
                <a:cubicBezTo>
                  <a:pt x="290" y="466"/>
                  <a:pt x="284" y="465"/>
                  <a:pt x="275" y="464"/>
                </a:cubicBezTo>
                <a:cubicBezTo>
                  <a:pt x="260" y="463"/>
                  <a:pt x="246" y="463"/>
                  <a:pt x="231" y="462"/>
                </a:cubicBezTo>
                <a:cubicBezTo>
                  <a:pt x="218" y="461"/>
                  <a:pt x="206" y="447"/>
                  <a:pt x="203" y="433"/>
                </a:cubicBezTo>
                <a:cubicBezTo>
                  <a:pt x="202" y="427"/>
                  <a:pt x="200" y="420"/>
                  <a:pt x="199" y="414"/>
                </a:cubicBezTo>
                <a:cubicBezTo>
                  <a:pt x="198" y="411"/>
                  <a:pt x="197" y="409"/>
                  <a:pt x="195" y="407"/>
                </a:cubicBezTo>
                <a:cubicBezTo>
                  <a:pt x="193" y="404"/>
                  <a:pt x="190" y="400"/>
                  <a:pt x="188" y="401"/>
                </a:cubicBezTo>
                <a:cubicBezTo>
                  <a:pt x="171" y="402"/>
                  <a:pt x="168" y="377"/>
                  <a:pt x="149" y="382"/>
                </a:cubicBezTo>
                <a:cubicBezTo>
                  <a:pt x="141" y="385"/>
                  <a:pt x="133" y="382"/>
                  <a:pt x="131" y="372"/>
                </a:cubicBezTo>
                <a:cubicBezTo>
                  <a:pt x="129" y="367"/>
                  <a:pt x="126" y="367"/>
                  <a:pt x="121" y="369"/>
                </a:cubicBezTo>
                <a:cubicBezTo>
                  <a:pt x="115" y="373"/>
                  <a:pt x="108" y="376"/>
                  <a:pt x="102" y="379"/>
                </a:cubicBezTo>
                <a:cubicBezTo>
                  <a:pt x="88" y="385"/>
                  <a:pt x="78" y="378"/>
                  <a:pt x="78" y="363"/>
                </a:cubicBezTo>
                <a:cubicBezTo>
                  <a:pt x="78" y="358"/>
                  <a:pt x="80" y="353"/>
                  <a:pt x="81" y="348"/>
                </a:cubicBezTo>
                <a:cubicBezTo>
                  <a:pt x="85" y="335"/>
                  <a:pt x="82" y="327"/>
                  <a:pt x="69" y="324"/>
                </a:cubicBezTo>
                <a:cubicBezTo>
                  <a:pt x="62" y="322"/>
                  <a:pt x="58" y="320"/>
                  <a:pt x="58" y="312"/>
                </a:cubicBezTo>
                <a:cubicBezTo>
                  <a:pt x="56" y="289"/>
                  <a:pt x="54" y="287"/>
                  <a:pt x="31" y="287"/>
                </a:cubicBezTo>
                <a:cubicBezTo>
                  <a:pt x="22" y="287"/>
                  <a:pt x="15" y="283"/>
                  <a:pt x="8" y="277"/>
                </a:cubicBezTo>
                <a:cubicBezTo>
                  <a:pt x="0" y="271"/>
                  <a:pt x="1" y="265"/>
                  <a:pt x="10" y="259"/>
                </a:cubicBezTo>
                <a:cubicBezTo>
                  <a:pt x="13" y="257"/>
                  <a:pt x="16" y="255"/>
                  <a:pt x="18" y="253"/>
                </a:cubicBezTo>
                <a:cubicBezTo>
                  <a:pt x="22" y="248"/>
                  <a:pt x="26" y="246"/>
                  <a:pt x="32" y="251"/>
                </a:cubicBezTo>
                <a:cubicBezTo>
                  <a:pt x="37" y="256"/>
                  <a:pt x="44" y="255"/>
                  <a:pt x="51" y="257"/>
                </a:cubicBezTo>
                <a:cubicBezTo>
                  <a:pt x="63" y="262"/>
                  <a:pt x="72" y="257"/>
                  <a:pt x="82" y="250"/>
                </a:cubicBezTo>
                <a:cubicBezTo>
                  <a:pt x="91" y="241"/>
                  <a:pt x="98" y="230"/>
                  <a:pt x="110" y="224"/>
                </a:cubicBezTo>
                <a:cubicBezTo>
                  <a:pt x="116" y="221"/>
                  <a:pt x="117" y="214"/>
                  <a:pt x="113" y="209"/>
                </a:cubicBezTo>
                <a:cubicBezTo>
                  <a:pt x="102" y="195"/>
                  <a:pt x="109" y="182"/>
                  <a:pt x="115" y="170"/>
                </a:cubicBezTo>
                <a:cubicBezTo>
                  <a:pt x="119" y="159"/>
                  <a:pt x="124" y="149"/>
                  <a:pt x="128" y="139"/>
                </a:cubicBezTo>
                <a:cubicBezTo>
                  <a:pt x="129" y="136"/>
                  <a:pt x="131" y="133"/>
                  <a:pt x="130" y="131"/>
                </a:cubicBezTo>
                <a:cubicBezTo>
                  <a:pt x="126" y="121"/>
                  <a:pt x="129" y="118"/>
                  <a:pt x="139" y="119"/>
                </a:cubicBezTo>
                <a:cubicBezTo>
                  <a:pt x="147" y="121"/>
                  <a:pt x="152" y="117"/>
                  <a:pt x="155" y="110"/>
                </a:cubicBezTo>
                <a:cubicBezTo>
                  <a:pt x="157" y="103"/>
                  <a:pt x="162" y="97"/>
                  <a:pt x="169" y="94"/>
                </a:cubicBezTo>
                <a:cubicBezTo>
                  <a:pt x="171" y="92"/>
                  <a:pt x="174" y="90"/>
                  <a:pt x="176" y="87"/>
                </a:cubicBezTo>
                <a:cubicBezTo>
                  <a:pt x="179" y="82"/>
                  <a:pt x="178" y="75"/>
                  <a:pt x="186" y="73"/>
                </a:cubicBezTo>
                <a:cubicBezTo>
                  <a:pt x="193" y="72"/>
                  <a:pt x="195" y="79"/>
                  <a:pt x="200" y="80"/>
                </a:cubicBezTo>
                <a:cubicBezTo>
                  <a:pt x="211" y="84"/>
                  <a:pt x="228" y="78"/>
                  <a:pt x="232" y="67"/>
                </a:cubicBezTo>
                <a:cubicBezTo>
                  <a:pt x="236" y="55"/>
                  <a:pt x="247" y="48"/>
                  <a:pt x="254" y="37"/>
                </a:cubicBezTo>
                <a:cubicBezTo>
                  <a:pt x="260" y="30"/>
                  <a:pt x="268" y="31"/>
                  <a:pt x="276" y="31"/>
                </a:cubicBezTo>
                <a:cubicBezTo>
                  <a:pt x="291" y="31"/>
                  <a:pt x="294" y="29"/>
                  <a:pt x="296" y="15"/>
                </a:cubicBezTo>
                <a:cubicBezTo>
                  <a:pt x="298" y="4"/>
                  <a:pt x="305" y="0"/>
                  <a:pt x="314" y="7"/>
                </a:cubicBezTo>
                <a:cubicBezTo>
                  <a:pt x="320" y="10"/>
                  <a:pt x="322" y="15"/>
                  <a:pt x="322" y="22"/>
                </a:cubicBezTo>
                <a:cubicBezTo>
                  <a:pt x="324" y="34"/>
                  <a:pt x="328" y="45"/>
                  <a:pt x="343" y="48"/>
                </a:cubicBezTo>
                <a:cubicBezTo>
                  <a:pt x="347" y="49"/>
                  <a:pt x="349" y="52"/>
                  <a:pt x="349" y="57"/>
                </a:cubicBezTo>
                <a:cubicBezTo>
                  <a:pt x="349" y="63"/>
                  <a:pt x="349" y="69"/>
                  <a:pt x="349" y="75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7" name="Freeform 20">
            <a:extLst>
              <a:ext uri="{FF2B5EF4-FFF2-40B4-BE49-F238E27FC236}">
                <a16:creationId xmlns:a16="http://schemas.microsoft.com/office/drawing/2014/main" id="{B1E91727-536D-4EA8-98B1-76E1732CC849}"/>
              </a:ext>
            </a:extLst>
          </p:cNvPr>
          <p:cNvSpPr>
            <a:spLocks/>
          </p:cNvSpPr>
          <p:nvPr/>
        </p:nvSpPr>
        <p:spPr bwMode="auto">
          <a:xfrm>
            <a:off x="7083948" y="2544299"/>
            <a:ext cx="705045" cy="1189306"/>
          </a:xfrm>
          <a:custGeom>
            <a:avLst/>
            <a:gdLst>
              <a:gd name="T0" fmla="*/ 143 w 296"/>
              <a:gd name="T1" fmla="*/ 60 h 491"/>
              <a:gd name="T2" fmla="*/ 180 w 296"/>
              <a:gd name="T3" fmla="*/ 48 h 491"/>
              <a:gd name="T4" fmla="*/ 220 w 296"/>
              <a:gd name="T5" fmla="*/ 46 h 491"/>
              <a:gd name="T6" fmla="*/ 241 w 296"/>
              <a:gd name="T7" fmla="*/ 43 h 491"/>
              <a:gd name="T8" fmla="*/ 249 w 296"/>
              <a:gd name="T9" fmla="*/ 44 h 491"/>
              <a:gd name="T10" fmla="*/ 252 w 296"/>
              <a:gd name="T11" fmla="*/ 51 h 491"/>
              <a:gd name="T12" fmla="*/ 273 w 296"/>
              <a:gd name="T13" fmla="*/ 64 h 491"/>
              <a:gd name="T14" fmla="*/ 285 w 296"/>
              <a:gd name="T15" fmla="*/ 66 h 491"/>
              <a:gd name="T16" fmla="*/ 292 w 296"/>
              <a:gd name="T17" fmla="*/ 80 h 491"/>
              <a:gd name="T18" fmla="*/ 292 w 296"/>
              <a:gd name="T19" fmla="*/ 101 h 491"/>
              <a:gd name="T20" fmla="*/ 273 w 296"/>
              <a:gd name="T21" fmla="*/ 144 h 491"/>
              <a:gd name="T22" fmla="*/ 255 w 296"/>
              <a:gd name="T23" fmla="*/ 171 h 491"/>
              <a:gd name="T24" fmla="*/ 241 w 296"/>
              <a:gd name="T25" fmla="*/ 203 h 491"/>
              <a:gd name="T26" fmla="*/ 240 w 296"/>
              <a:gd name="T27" fmla="*/ 220 h 491"/>
              <a:gd name="T28" fmla="*/ 241 w 296"/>
              <a:gd name="T29" fmla="*/ 234 h 491"/>
              <a:gd name="T30" fmla="*/ 241 w 296"/>
              <a:gd name="T31" fmla="*/ 247 h 491"/>
              <a:gd name="T32" fmla="*/ 247 w 296"/>
              <a:gd name="T33" fmla="*/ 254 h 491"/>
              <a:gd name="T34" fmla="*/ 250 w 296"/>
              <a:gd name="T35" fmla="*/ 268 h 491"/>
              <a:gd name="T36" fmla="*/ 241 w 296"/>
              <a:gd name="T37" fmla="*/ 276 h 491"/>
              <a:gd name="T38" fmla="*/ 234 w 296"/>
              <a:gd name="T39" fmla="*/ 292 h 491"/>
              <a:gd name="T40" fmla="*/ 247 w 296"/>
              <a:gd name="T41" fmla="*/ 314 h 491"/>
              <a:gd name="T42" fmla="*/ 249 w 296"/>
              <a:gd name="T43" fmla="*/ 332 h 491"/>
              <a:gd name="T44" fmla="*/ 237 w 296"/>
              <a:gd name="T45" fmla="*/ 341 h 491"/>
              <a:gd name="T46" fmla="*/ 221 w 296"/>
              <a:gd name="T47" fmla="*/ 388 h 491"/>
              <a:gd name="T48" fmla="*/ 225 w 296"/>
              <a:gd name="T49" fmla="*/ 399 h 491"/>
              <a:gd name="T50" fmla="*/ 237 w 296"/>
              <a:gd name="T51" fmla="*/ 424 h 491"/>
              <a:gd name="T52" fmla="*/ 238 w 296"/>
              <a:gd name="T53" fmla="*/ 430 h 491"/>
              <a:gd name="T54" fmla="*/ 234 w 296"/>
              <a:gd name="T55" fmla="*/ 449 h 491"/>
              <a:gd name="T56" fmla="*/ 227 w 296"/>
              <a:gd name="T57" fmla="*/ 456 h 491"/>
              <a:gd name="T58" fmla="*/ 200 w 296"/>
              <a:gd name="T59" fmla="*/ 472 h 491"/>
              <a:gd name="T60" fmla="*/ 193 w 296"/>
              <a:gd name="T61" fmla="*/ 475 h 491"/>
              <a:gd name="T62" fmla="*/ 150 w 296"/>
              <a:gd name="T63" fmla="*/ 481 h 491"/>
              <a:gd name="T64" fmla="*/ 122 w 296"/>
              <a:gd name="T65" fmla="*/ 481 h 491"/>
              <a:gd name="T66" fmla="*/ 117 w 296"/>
              <a:gd name="T67" fmla="*/ 478 h 491"/>
              <a:gd name="T68" fmla="*/ 102 w 296"/>
              <a:gd name="T69" fmla="*/ 457 h 491"/>
              <a:gd name="T70" fmla="*/ 97 w 296"/>
              <a:gd name="T71" fmla="*/ 429 h 491"/>
              <a:gd name="T72" fmla="*/ 100 w 296"/>
              <a:gd name="T73" fmla="*/ 387 h 491"/>
              <a:gd name="T74" fmla="*/ 87 w 296"/>
              <a:gd name="T75" fmla="*/ 379 h 491"/>
              <a:gd name="T76" fmla="*/ 62 w 296"/>
              <a:gd name="T77" fmla="*/ 375 h 491"/>
              <a:gd name="T78" fmla="*/ 57 w 296"/>
              <a:gd name="T79" fmla="*/ 353 h 491"/>
              <a:gd name="T80" fmla="*/ 60 w 296"/>
              <a:gd name="T81" fmla="*/ 306 h 491"/>
              <a:gd name="T82" fmla="*/ 57 w 296"/>
              <a:gd name="T83" fmla="*/ 278 h 491"/>
              <a:gd name="T84" fmla="*/ 46 w 296"/>
              <a:gd name="T85" fmla="*/ 257 h 491"/>
              <a:gd name="T86" fmla="*/ 34 w 296"/>
              <a:gd name="T87" fmla="*/ 245 h 491"/>
              <a:gd name="T88" fmla="*/ 21 w 296"/>
              <a:gd name="T89" fmla="*/ 214 h 491"/>
              <a:gd name="T90" fmla="*/ 24 w 296"/>
              <a:gd name="T91" fmla="*/ 190 h 491"/>
              <a:gd name="T92" fmla="*/ 27 w 296"/>
              <a:gd name="T93" fmla="*/ 173 h 491"/>
              <a:gd name="T94" fmla="*/ 20 w 296"/>
              <a:gd name="T95" fmla="*/ 149 h 491"/>
              <a:gd name="T96" fmla="*/ 6 w 296"/>
              <a:gd name="T97" fmla="*/ 132 h 491"/>
              <a:gd name="T98" fmla="*/ 4 w 296"/>
              <a:gd name="T99" fmla="*/ 123 h 491"/>
              <a:gd name="T100" fmla="*/ 20 w 296"/>
              <a:gd name="T101" fmla="*/ 112 h 491"/>
              <a:gd name="T102" fmla="*/ 38 w 296"/>
              <a:gd name="T103" fmla="*/ 85 h 491"/>
              <a:gd name="T104" fmla="*/ 53 w 296"/>
              <a:gd name="T105" fmla="*/ 61 h 491"/>
              <a:gd name="T106" fmla="*/ 62 w 296"/>
              <a:gd name="T107" fmla="*/ 44 h 491"/>
              <a:gd name="T108" fmla="*/ 66 w 296"/>
              <a:gd name="T109" fmla="*/ 27 h 491"/>
              <a:gd name="T110" fmla="*/ 83 w 296"/>
              <a:gd name="T111" fmla="*/ 19 h 491"/>
              <a:gd name="T112" fmla="*/ 95 w 296"/>
              <a:gd name="T113" fmla="*/ 15 h 491"/>
              <a:gd name="T114" fmla="*/ 104 w 296"/>
              <a:gd name="T115" fmla="*/ 4 h 491"/>
              <a:gd name="T116" fmla="*/ 111 w 296"/>
              <a:gd name="T117" fmla="*/ 6 h 491"/>
              <a:gd name="T118" fmla="*/ 119 w 296"/>
              <a:gd name="T119" fmla="*/ 45 h 491"/>
              <a:gd name="T120" fmla="*/ 129 w 296"/>
              <a:gd name="T121" fmla="*/ 60 h 491"/>
              <a:gd name="T122" fmla="*/ 143 w 296"/>
              <a:gd name="T123" fmla="*/ 6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6" h="491">
                <a:moveTo>
                  <a:pt x="143" y="60"/>
                </a:moveTo>
                <a:cubicBezTo>
                  <a:pt x="158" y="63"/>
                  <a:pt x="170" y="56"/>
                  <a:pt x="180" y="48"/>
                </a:cubicBezTo>
                <a:cubicBezTo>
                  <a:pt x="194" y="38"/>
                  <a:pt x="207" y="38"/>
                  <a:pt x="220" y="46"/>
                </a:cubicBezTo>
                <a:cubicBezTo>
                  <a:pt x="228" y="51"/>
                  <a:pt x="235" y="55"/>
                  <a:pt x="241" y="43"/>
                </a:cubicBezTo>
                <a:cubicBezTo>
                  <a:pt x="243" y="39"/>
                  <a:pt x="247" y="40"/>
                  <a:pt x="249" y="44"/>
                </a:cubicBezTo>
                <a:cubicBezTo>
                  <a:pt x="250" y="46"/>
                  <a:pt x="251" y="49"/>
                  <a:pt x="252" y="51"/>
                </a:cubicBezTo>
                <a:cubicBezTo>
                  <a:pt x="256" y="60"/>
                  <a:pt x="261" y="67"/>
                  <a:pt x="273" y="64"/>
                </a:cubicBezTo>
                <a:cubicBezTo>
                  <a:pt x="277" y="63"/>
                  <a:pt x="281" y="65"/>
                  <a:pt x="285" y="66"/>
                </a:cubicBezTo>
                <a:cubicBezTo>
                  <a:pt x="292" y="69"/>
                  <a:pt x="295" y="74"/>
                  <a:pt x="292" y="80"/>
                </a:cubicBezTo>
                <a:cubicBezTo>
                  <a:pt x="289" y="87"/>
                  <a:pt x="290" y="93"/>
                  <a:pt x="292" y="101"/>
                </a:cubicBezTo>
                <a:cubicBezTo>
                  <a:pt x="296" y="119"/>
                  <a:pt x="287" y="136"/>
                  <a:pt x="273" y="144"/>
                </a:cubicBezTo>
                <a:cubicBezTo>
                  <a:pt x="261" y="151"/>
                  <a:pt x="258" y="161"/>
                  <a:pt x="255" y="171"/>
                </a:cubicBezTo>
                <a:cubicBezTo>
                  <a:pt x="252" y="182"/>
                  <a:pt x="249" y="194"/>
                  <a:pt x="241" y="203"/>
                </a:cubicBezTo>
                <a:cubicBezTo>
                  <a:pt x="236" y="208"/>
                  <a:pt x="235" y="214"/>
                  <a:pt x="240" y="220"/>
                </a:cubicBezTo>
                <a:cubicBezTo>
                  <a:pt x="244" y="225"/>
                  <a:pt x="246" y="229"/>
                  <a:pt x="241" y="234"/>
                </a:cubicBezTo>
                <a:cubicBezTo>
                  <a:pt x="236" y="238"/>
                  <a:pt x="238" y="243"/>
                  <a:pt x="241" y="247"/>
                </a:cubicBezTo>
                <a:cubicBezTo>
                  <a:pt x="242" y="249"/>
                  <a:pt x="246" y="251"/>
                  <a:pt x="247" y="254"/>
                </a:cubicBezTo>
                <a:cubicBezTo>
                  <a:pt x="249" y="258"/>
                  <a:pt x="250" y="263"/>
                  <a:pt x="250" y="268"/>
                </a:cubicBezTo>
                <a:cubicBezTo>
                  <a:pt x="251" y="274"/>
                  <a:pt x="245" y="273"/>
                  <a:pt x="241" y="276"/>
                </a:cubicBezTo>
                <a:cubicBezTo>
                  <a:pt x="235" y="280"/>
                  <a:pt x="234" y="284"/>
                  <a:pt x="234" y="292"/>
                </a:cubicBezTo>
                <a:cubicBezTo>
                  <a:pt x="234" y="303"/>
                  <a:pt x="237" y="309"/>
                  <a:pt x="247" y="314"/>
                </a:cubicBezTo>
                <a:cubicBezTo>
                  <a:pt x="257" y="318"/>
                  <a:pt x="257" y="323"/>
                  <a:pt x="249" y="332"/>
                </a:cubicBezTo>
                <a:cubicBezTo>
                  <a:pt x="245" y="336"/>
                  <a:pt x="238" y="335"/>
                  <a:pt x="237" y="341"/>
                </a:cubicBezTo>
                <a:cubicBezTo>
                  <a:pt x="235" y="358"/>
                  <a:pt x="223" y="371"/>
                  <a:pt x="221" y="388"/>
                </a:cubicBezTo>
                <a:cubicBezTo>
                  <a:pt x="221" y="393"/>
                  <a:pt x="222" y="396"/>
                  <a:pt x="225" y="399"/>
                </a:cubicBezTo>
                <a:cubicBezTo>
                  <a:pt x="233" y="406"/>
                  <a:pt x="239" y="413"/>
                  <a:pt x="237" y="424"/>
                </a:cubicBezTo>
                <a:cubicBezTo>
                  <a:pt x="236" y="426"/>
                  <a:pt x="237" y="428"/>
                  <a:pt x="238" y="430"/>
                </a:cubicBezTo>
                <a:cubicBezTo>
                  <a:pt x="241" y="437"/>
                  <a:pt x="239" y="444"/>
                  <a:pt x="234" y="449"/>
                </a:cubicBezTo>
                <a:cubicBezTo>
                  <a:pt x="231" y="451"/>
                  <a:pt x="228" y="454"/>
                  <a:pt x="227" y="456"/>
                </a:cubicBezTo>
                <a:cubicBezTo>
                  <a:pt x="220" y="466"/>
                  <a:pt x="213" y="475"/>
                  <a:pt x="200" y="472"/>
                </a:cubicBezTo>
                <a:cubicBezTo>
                  <a:pt x="198" y="472"/>
                  <a:pt x="194" y="473"/>
                  <a:pt x="193" y="475"/>
                </a:cubicBezTo>
                <a:cubicBezTo>
                  <a:pt x="180" y="491"/>
                  <a:pt x="165" y="484"/>
                  <a:pt x="150" y="481"/>
                </a:cubicBezTo>
                <a:cubicBezTo>
                  <a:pt x="141" y="479"/>
                  <a:pt x="132" y="473"/>
                  <a:pt x="122" y="481"/>
                </a:cubicBezTo>
                <a:cubicBezTo>
                  <a:pt x="119" y="483"/>
                  <a:pt x="118" y="480"/>
                  <a:pt x="117" y="478"/>
                </a:cubicBezTo>
                <a:cubicBezTo>
                  <a:pt x="114" y="469"/>
                  <a:pt x="110" y="463"/>
                  <a:pt x="102" y="457"/>
                </a:cubicBezTo>
                <a:cubicBezTo>
                  <a:pt x="90" y="449"/>
                  <a:pt x="90" y="443"/>
                  <a:pt x="97" y="429"/>
                </a:cubicBezTo>
                <a:cubicBezTo>
                  <a:pt x="105" y="416"/>
                  <a:pt x="102" y="401"/>
                  <a:pt x="100" y="387"/>
                </a:cubicBezTo>
                <a:cubicBezTo>
                  <a:pt x="100" y="381"/>
                  <a:pt x="93" y="379"/>
                  <a:pt x="87" y="379"/>
                </a:cubicBezTo>
                <a:cubicBezTo>
                  <a:pt x="79" y="380"/>
                  <a:pt x="70" y="380"/>
                  <a:pt x="62" y="375"/>
                </a:cubicBezTo>
                <a:cubicBezTo>
                  <a:pt x="53" y="369"/>
                  <a:pt x="49" y="361"/>
                  <a:pt x="57" y="353"/>
                </a:cubicBezTo>
                <a:cubicBezTo>
                  <a:pt x="70" y="338"/>
                  <a:pt x="68" y="322"/>
                  <a:pt x="60" y="306"/>
                </a:cubicBezTo>
                <a:cubicBezTo>
                  <a:pt x="56" y="297"/>
                  <a:pt x="53" y="289"/>
                  <a:pt x="57" y="278"/>
                </a:cubicBezTo>
                <a:cubicBezTo>
                  <a:pt x="60" y="265"/>
                  <a:pt x="58" y="262"/>
                  <a:pt x="46" y="257"/>
                </a:cubicBezTo>
                <a:cubicBezTo>
                  <a:pt x="39" y="254"/>
                  <a:pt x="36" y="251"/>
                  <a:pt x="34" y="245"/>
                </a:cubicBezTo>
                <a:cubicBezTo>
                  <a:pt x="31" y="234"/>
                  <a:pt x="27" y="224"/>
                  <a:pt x="21" y="214"/>
                </a:cubicBezTo>
                <a:cubicBezTo>
                  <a:pt x="14" y="205"/>
                  <a:pt x="16" y="199"/>
                  <a:pt x="24" y="190"/>
                </a:cubicBezTo>
                <a:cubicBezTo>
                  <a:pt x="30" y="184"/>
                  <a:pt x="31" y="179"/>
                  <a:pt x="27" y="173"/>
                </a:cubicBezTo>
                <a:cubicBezTo>
                  <a:pt x="22" y="165"/>
                  <a:pt x="20" y="158"/>
                  <a:pt x="20" y="149"/>
                </a:cubicBezTo>
                <a:cubicBezTo>
                  <a:pt x="20" y="141"/>
                  <a:pt x="16" y="133"/>
                  <a:pt x="6" y="132"/>
                </a:cubicBezTo>
                <a:cubicBezTo>
                  <a:pt x="0" y="131"/>
                  <a:pt x="1" y="127"/>
                  <a:pt x="4" y="123"/>
                </a:cubicBezTo>
                <a:cubicBezTo>
                  <a:pt x="9" y="118"/>
                  <a:pt x="14" y="114"/>
                  <a:pt x="20" y="112"/>
                </a:cubicBezTo>
                <a:cubicBezTo>
                  <a:pt x="30" y="107"/>
                  <a:pt x="41" y="101"/>
                  <a:pt x="38" y="85"/>
                </a:cubicBezTo>
                <a:cubicBezTo>
                  <a:pt x="37" y="75"/>
                  <a:pt x="45" y="67"/>
                  <a:pt x="53" y="61"/>
                </a:cubicBezTo>
                <a:cubicBezTo>
                  <a:pt x="59" y="56"/>
                  <a:pt x="62" y="52"/>
                  <a:pt x="62" y="44"/>
                </a:cubicBezTo>
                <a:cubicBezTo>
                  <a:pt x="62" y="39"/>
                  <a:pt x="64" y="32"/>
                  <a:pt x="66" y="27"/>
                </a:cubicBezTo>
                <a:cubicBezTo>
                  <a:pt x="69" y="21"/>
                  <a:pt x="73" y="14"/>
                  <a:pt x="83" y="19"/>
                </a:cubicBezTo>
                <a:cubicBezTo>
                  <a:pt x="88" y="22"/>
                  <a:pt x="92" y="19"/>
                  <a:pt x="95" y="15"/>
                </a:cubicBezTo>
                <a:cubicBezTo>
                  <a:pt x="98" y="12"/>
                  <a:pt x="101" y="8"/>
                  <a:pt x="104" y="4"/>
                </a:cubicBezTo>
                <a:cubicBezTo>
                  <a:pt x="107" y="0"/>
                  <a:pt x="111" y="3"/>
                  <a:pt x="111" y="6"/>
                </a:cubicBezTo>
                <a:cubicBezTo>
                  <a:pt x="112" y="19"/>
                  <a:pt x="125" y="30"/>
                  <a:pt x="119" y="45"/>
                </a:cubicBezTo>
                <a:cubicBezTo>
                  <a:pt x="116" y="51"/>
                  <a:pt x="122" y="58"/>
                  <a:pt x="129" y="60"/>
                </a:cubicBezTo>
                <a:cubicBezTo>
                  <a:pt x="134" y="61"/>
                  <a:pt x="138" y="60"/>
                  <a:pt x="143" y="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0" name="Freeform 13">
            <a:extLst>
              <a:ext uri="{FF2B5EF4-FFF2-40B4-BE49-F238E27FC236}">
                <a16:creationId xmlns:a16="http://schemas.microsoft.com/office/drawing/2014/main" id="{0DD1DD72-846D-4FB8-8F4F-8CE610D37035}"/>
              </a:ext>
            </a:extLst>
          </p:cNvPr>
          <p:cNvSpPr>
            <a:spLocks/>
          </p:cNvSpPr>
          <p:nvPr/>
        </p:nvSpPr>
        <p:spPr bwMode="auto">
          <a:xfrm>
            <a:off x="5925321" y="5066529"/>
            <a:ext cx="1478524" cy="1131213"/>
          </a:xfrm>
          <a:custGeom>
            <a:avLst/>
            <a:gdLst>
              <a:gd name="T0" fmla="*/ 218 w 620"/>
              <a:gd name="T1" fmla="*/ 463 h 467"/>
              <a:gd name="T2" fmla="*/ 211 w 620"/>
              <a:gd name="T3" fmla="*/ 425 h 467"/>
              <a:gd name="T4" fmla="*/ 189 w 620"/>
              <a:gd name="T5" fmla="*/ 379 h 467"/>
              <a:gd name="T6" fmla="*/ 173 w 620"/>
              <a:gd name="T7" fmla="*/ 378 h 467"/>
              <a:gd name="T8" fmla="*/ 106 w 620"/>
              <a:gd name="T9" fmla="*/ 381 h 467"/>
              <a:gd name="T10" fmla="*/ 72 w 620"/>
              <a:gd name="T11" fmla="*/ 398 h 467"/>
              <a:gd name="T12" fmla="*/ 75 w 620"/>
              <a:gd name="T13" fmla="*/ 353 h 467"/>
              <a:gd name="T14" fmla="*/ 78 w 620"/>
              <a:gd name="T15" fmla="*/ 324 h 467"/>
              <a:gd name="T16" fmla="*/ 89 w 620"/>
              <a:gd name="T17" fmla="*/ 298 h 467"/>
              <a:gd name="T18" fmla="*/ 75 w 620"/>
              <a:gd name="T19" fmla="*/ 261 h 467"/>
              <a:gd name="T20" fmla="*/ 8 w 620"/>
              <a:gd name="T21" fmla="*/ 254 h 467"/>
              <a:gd name="T22" fmla="*/ 7 w 620"/>
              <a:gd name="T23" fmla="*/ 243 h 467"/>
              <a:gd name="T24" fmla="*/ 13 w 620"/>
              <a:gd name="T25" fmla="*/ 202 h 467"/>
              <a:gd name="T26" fmla="*/ 82 w 620"/>
              <a:gd name="T27" fmla="*/ 158 h 467"/>
              <a:gd name="T28" fmla="*/ 89 w 620"/>
              <a:gd name="T29" fmla="*/ 125 h 467"/>
              <a:gd name="T30" fmla="*/ 70 w 620"/>
              <a:gd name="T31" fmla="*/ 113 h 467"/>
              <a:gd name="T32" fmla="*/ 94 w 620"/>
              <a:gd name="T33" fmla="*/ 110 h 467"/>
              <a:gd name="T34" fmla="*/ 125 w 620"/>
              <a:gd name="T35" fmla="*/ 102 h 467"/>
              <a:gd name="T36" fmla="*/ 210 w 620"/>
              <a:gd name="T37" fmla="*/ 91 h 467"/>
              <a:gd name="T38" fmla="*/ 234 w 620"/>
              <a:gd name="T39" fmla="*/ 72 h 467"/>
              <a:gd name="T40" fmla="*/ 286 w 620"/>
              <a:gd name="T41" fmla="*/ 38 h 467"/>
              <a:gd name="T42" fmla="*/ 310 w 620"/>
              <a:gd name="T43" fmla="*/ 29 h 467"/>
              <a:gd name="T44" fmla="*/ 341 w 620"/>
              <a:gd name="T45" fmla="*/ 46 h 467"/>
              <a:gd name="T46" fmla="*/ 366 w 620"/>
              <a:gd name="T47" fmla="*/ 31 h 467"/>
              <a:gd name="T48" fmla="*/ 392 w 620"/>
              <a:gd name="T49" fmla="*/ 6 h 467"/>
              <a:gd name="T50" fmla="*/ 394 w 620"/>
              <a:gd name="T51" fmla="*/ 20 h 467"/>
              <a:gd name="T52" fmla="*/ 411 w 620"/>
              <a:gd name="T53" fmla="*/ 32 h 467"/>
              <a:gd name="T54" fmla="*/ 441 w 620"/>
              <a:gd name="T55" fmla="*/ 15 h 467"/>
              <a:gd name="T56" fmla="*/ 450 w 620"/>
              <a:gd name="T57" fmla="*/ 24 h 467"/>
              <a:gd name="T58" fmla="*/ 506 w 620"/>
              <a:gd name="T59" fmla="*/ 2 h 467"/>
              <a:gd name="T60" fmla="*/ 599 w 620"/>
              <a:gd name="T61" fmla="*/ 13 h 467"/>
              <a:gd name="T62" fmla="*/ 614 w 620"/>
              <a:gd name="T63" fmla="*/ 38 h 467"/>
              <a:gd name="T64" fmla="*/ 598 w 620"/>
              <a:gd name="T65" fmla="*/ 72 h 467"/>
              <a:gd name="T66" fmla="*/ 597 w 620"/>
              <a:gd name="T67" fmla="*/ 103 h 467"/>
              <a:gd name="T68" fmla="*/ 588 w 620"/>
              <a:gd name="T69" fmla="*/ 121 h 467"/>
              <a:gd name="T70" fmla="*/ 569 w 620"/>
              <a:gd name="T71" fmla="*/ 157 h 467"/>
              <a:gd name="T72" fmla="*/ 542 w 620"/>
              <a:gd name="T73" fmla="*/ 199 h 467"/>
              <a:gd name="T74" fmla="*/ 474 w 620"/>
              <a:gd name="T75" fmla="*/ 233 h 467"/>
              <a:gd name="T76" fmla="*/ 440 w 620"/>
              <a:gd name="T77" fmla="*/ 228 h 467"/>
              <a:gd name="T78" fmla="*/ 408 w 620"/>
              <a:gd name="T79" fmla="*/ 255 h 467"/>
              <a:gd name="T80" fmla="*/ 348 w 620"/>
              <a:gd name="T81" fmla="*/ 315 h 467"/>
              <a:gd name="T82" fmla="*/ 302 w 620"/>
              <a:gd name="T83" fmla="*/ 347 h 467"/>
              <a:gd name="T84" fmla="*/ 260 w 620"/>
              <a:gd name="T85" fmla="*/ 400 h 467"/>
              <a:gd name="T86" fmla="*/ 286 w 620"/>
              <a:gd name="T87" fmla="*/ 406 h 467"/>
              <a:gd name="T88" fmla="*/ 266 w 620"/>
              <a:gd name="T89" fmla="*/ 461 h 4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20" h="467">
                <a:moveTo>
                  <a:pt x="234" y="466"/>
                </a:moveTo>
                <a:cubicBezTo>
                  <a:pt x="228" y="466"/>
                  <a:pt x="223" y="466"/>
                  <a:pt x="218" y="463"/>
                </a:cubicBezTo>
                <a:cubicBezTo>
                  <a:pt x="213" y="458"/>
                  <a:pt x="208" y="453"/>
                  <a:pt x="213" y="446"/>
                </a:cubicBezTo>
                <a:cubicBezTo>
                  <a:pt x="220" y="438"/>
                  <a:pt x="216" y="431"/>
                  <a:pt x="211" y="425"/>
                </a:cubicBezTo>
                <a:cubicBezTo>
                  <a:pt x="203" y="414"/>
                  <a:pt x="196" y="403"/>
                  <a:pt x="194" y="389"/>
                </a:cubicBezTo>
                <a:cubicBezTo>
                  <a:pt x="194" y="386"/>
                  <a:pt x="191" y="382"/>
                  <a:pt x="189" y="379"/>
                </a:cubicBezTo>
                <a:cubicBezTo>
                  <a:pt x="184" y="371"/>
                  <a:pt x="181" y="370"/>
                  <a:pt x="174" y="377"/>
                </a:cubicBezTo>
                <a:cubicBezTo>
                  <a:pt x="173" y="377"/>
                  <a:pt x="173" y="378"/>
                  <a:pt x="173" y="378"/>
                </a:cubicBezTo>
                <a:cubicBezTo>
                  <a:pt x="157" y="393"/>
                  <a:pt x="154" y="393"/>
                  <a:pt x="137" y="378"/>
                </a:cubicBezTo>
                <a:cubicBezTo>
                  <a:pt x="126" y="368"/>
                  <a:pt x="114" y="368"/>
                  <a:pt x="106" y="381"/>
                </a:cubicBezTo>
                <a:cubicBezTo>
                  <a:pt x="102" y="388"/>
                  <a:pt x="95" y="392"/>
                  <a:pt x="90" y="399"/>
                </a:cubicBezTo>
                <a:cubicBezTo>
                  <a:pt x="85" y="407"/>
                  <a:pt x="77" y="407"/>
                  <a:pt x="72" y="398"/>
                </a:cubicBezTo>
                <a:cubicBezTo>
                  <a:pt x="67" y="391"/>
                  <a:pt x="59" y="382"/>
                  <a:pt x="70" y="372"/>
                </a:cubicBezTo>
                <a:cubicBezTo>
                  <a:pt x="75" y="368"/>
                  <a:pt x="75" y="360"/>
                  <a:pt x="75" y="353"/>
                </a:cubicBezTo>
                <a:cubicBezTo>
                  <a:pt x="75" y="348"/>
                  <a:pt x="73" y="342"/>
                  <a:pt x="78" y="338"/>
                </a:cubicBezTo>
                <a:cubicBezTo>
                  <a:pt x="83" y="333"/>
                  <a:pt x="81" y="329"/>
                  <a:pt x="78" y="324"/>
                </a:cubicBezTo>
                <a:cubicBezTo>
                  <a:pt x="73" y="316"/>
                  <a:pt x="76" y="311"/>
                  <a:pt x="82" y="305"/>
                </a:cubicBezTo>
                <a:cubicBezTo>
                  <a:pt x="84" y="303"/>
                  <a:pt x="87" y="300"/>
                  <a:pt x="89" y="298"/>
                </a:cubicBezTo>
                <a:cubicBezTo>
                  <a:pt x="98" y="287"/>
                  <a:pt x="98" y="283"/>
                  <a:pt x="87" y="273"/>
                </a:cubicBezTo>
                <a:cubicBezTo>
                  <a:pt x="83" y="270"/>
                  <a:pt x="78" y="266"/>
                  <a:pt x="75" y="261"/>
                </a:cubicBezTo>
                <a:cubicBezTo>
                  <a:pt x="68" y="249"/>
                  <a:pt x="57" y="247"/>
                  <a:pt x="45" y="251"/>
                </a:cubicBezTo>
                <a:cubicBezTo>
                  <a:pt x="33" y="256"/>
                  <a:pt x="20" y="252"/>
                  <a:pt x="8" y="254"/>
                </a:cubicBezTo>
                <a:cubicBezTo>
                  <a:pt x="5" y="254"/>
                  <a:pt x="3" y="252"/>
                  <a:pt x="2" y="250"/>
                </a:cubicBezTo>
                <a:cubicBezTo>
                  <a:pt x="0" y="245"/>
                  <a:pt x="4" y="244"/>
                  <a:pt x="7" y="243"/>
                </a:cubicBezTo>
                <a:cubicBezTo>
                  <a:pt x="24" y="234"/>
                  <a:pt x="24" y="234"/>
                  <a:pt x="12" y="220"/>
                </a:cubicBezTo>
                <a:cubicBezTo>
                  <a:pt x="4" y="211"/>
                  <a:pt x="3" y="211"/>
                  <a:pt x="13" y="202"/>
                </a:cubicBezTo>
                <a:cubicBezTo>
                  <a:pt x="32" y="186"/>
                  <a:pt x="51" y="172"/>
                  <a:pt x="72" y="160"/>
                </a:cubicBezTo>
                <a:cubicBezTo>
                  <a:pt x="75" y="158"/>
                  <a:pt x="79" y="158"/>
                  <a:pt x="82" y="158"/>
                </a:cubicBezTo>
                <a:cubicBezTo>
                  <a:pt x="89" y="156"/>
                  <a:pt x="94" y="151"/>
                  <a:pt x="97" y="146"/>
                </a:cubicBezTo>
                <a:cubicBezTo>
                  <a:pt x="103" y="137"/>
                  <a:pt x="99" y="128"/>
                  <a:pt x="89" y="125"/>
                </a:cubicBezTo>
                <a:cubicBezTo>
                  <a:pt x="84" y="123"/>
                  <a:pt x="78" y="122"/>
                  <a:pt x="73" y="121"/>
                </a:cubicBezTo>
                <a:cubicBezTo>
                  <a:pt x="70" y="120"/>
                  <a:pt x="68" y="117"/>
                  <a:pt x="70" y="113"/>
                </a:cubicBezTo>
                <a:cubicBezTo>
                  <a:pt x="71" y="110"/>
                  <a:pt x="72" y="107"/>
                  <a:pt x="77" y="109"/>
                </a:cubicBezTo>
                <a:cubicBezTo>
                  <a:pt x="82" y="112"/>
                  <a:pt x="89" y="110"/>
                  <a:pt x="94" y="110"/>
                </a:cubicBezTo>
                <a:cubicBezTo>
                  <a:pt x="100" y="110"/>
                  <a:pt x="105" y="110"/>
                  <a:pt x="108" y="104"/>
                </a:cubicBezTo>
                <a:cubicBezTo>
                  <a:pt x="112" y="97"/>
                  <a:pt x="118" y="97"/>
                  <a:pt x="125" y="102"/>
                </a:cubicBezTo>
                <a:cubicBezTo>
                  <a:pt x="136" y="109"/>
                  <a:pt x="150" y="107"/>
                  <a:pt x="163" y="110"/>
                </a:cubicBezTo>
                <a:cubicBezTo>
                  <a:pt x="177" y="102"/>
                  <a:pt x="195" y="99"/>
                  <a:pt x="210" y="91"/>
                </a:cubicBezTo>
                <a:cubicBezTo>
                  <a:pt x="214" y="89"/>
                  <a:pt x="216" y="83"/>
                  <a:pt x="220" y="79"/>
                </a:cubicBezTo>
                <a:cubicBezTo>
                  <a:pt x="223" y="74"/>
                  <a:pt x="225" y="70"/>
                  <a:pt x="234" y="72"/>
                </a:cubicBezTo>
                <a:cubicBezTo>
                  <a:pt x="241" y="75"/>
                  <a:pt x="247" y="66"/>
                  <a:pt x="250" y="61"/>
                </a:cubicBezTo>
                <a:cubicBezTo>
                  <a:pt x="259" y="48"/>
                  <a:pt x="273" y="44"/>
                  <a:pt x="286" y="38"/>
                </a:cubicBezTo>
                <a:cubicBezTo>
                  <a:pt x="289" y="37"/>
                  <a:pt x="293" y="37"/>
                  <a:pt x="296" y="35"/>
                </a:cubicBezTo>
                <a:cubicBezTo>
                  <a:pt x="300" y="33"/>
                  <a:pt x="305" y="29"/>
                  <a:pt x="310" y="29"/>
                </a:cubicBezTo>
                <a:cubicBezTo>
                  <a:pt x="316" y="29"/>
                  <a:pt x="313" y="38"/>
                  <a:pt x="318" y="41"/>
                </a:cubicBezTo>
                <a:cubicBezTo>
                  <a:pt x="325" y="46"/>
                  <a:pt x="331" y="52"/>
                  <a:pt x="341" y="46"/>
                </a:cubicBezTo>
                <a:cubicBezTo>
                  <a:pt x="343" y="44"/>
                  <a:pt x="347" y="43"/>
                  <a:pt x="350" y="43"/>
                </a:cubicBezTo>
                <a:cubicBezTo>
                  <a:pt x="359" y="43"/>
                  <a:pt x="364" y="38"/>
                  <a:pt x="366" y="31"/>
                </a:cubicBezTo>
                <a:cubicBezTo>
                  <a:pt x="369" y="21"/>
                  <a:pt x="380" y="18"/>
                  <a:pt x="383" y="9"/>
                </a:cubicBezTo>
                <a:cubicBezTo>
                  <a:pt x="384" y="6"/>
                  <a:pt x="389" y="6"/>
                  <a:pt x="392" y="6"/>
                </a:cubicBezTo>
                <a:cubicBezTo>
                  <a:pt x="396" y="7"/>
                  <a:pt x="399" y="8"/>
                  <a:pt x="397" y="12"/>
                </a:cubicBezTo>
                <a:cubicBezTo>
                  <a:pt x="397" y="15"/>
                  <a:pt x="396" y="17"/>
                  <a:pt x="394" y="20"/>
                </a:cubicBezTo>
                <a:cubicBezTo>
                  <a:pt x="390" y="26"/>
                  <a:pt x="392" y="31"/>
                  <a:pt x="397" y="35"/>
                </a:cubicBezTo>
                <a:cubicBezTo>
                  <a:pt x="403" y="40"/>
                  <a:pt x="407" y="36"/>
                  <a:pt x="411" y="32"/>
                </a:cubicBezTo>
                <a:cubicBezTo>
                  <a:pt x="417" y="28"/>
                  <a:pt x="419" y="22"/>
                  <a:pt x="423" y="16"/>
                </a:cubicBezTo>
                <a:cubicBezTo>
                  <a:pt x="429" y="4"/>
                  <a:pt x="432" y="4"/>
                  <a:pt x="441" y="15"/>
                </a:cubicBezTo>
                <a:cubicBezTo>
                  <a:pt x="442" y="17"/>
                  <a:pt x="443" y="20"/>
                  <a:pt x="445" y="21"/>
                </a:cubicBezTo>
                <a:cubicBezTo>
                  <a:pt x="446" y="23"/>
                  <a:pt x="449" y="24"/>
                  <a:pt x="450" y="24"/>
                </a:cubicBezTo>
                <a:cubicBezTo>
                  <a:pt x="462" y="17"/>
                  <a:pt x="479" y="23"/>
                  <a:pt x="488" y="9"/>
                </a:cubicBezTo>
                <a:cubicBezTo>
                  <a:pt x="493" y="3"/>
                  <a:pt x="499" y="2"/>
                  <a:pt x="506" y="2"/>
                </a:cubicBezTo>
                <a:cubicBezTo>
                  <a:pt x="528" y="0"/>
                  <a:pt x="550" y="3"/>
                  <a:pt x="572" y="1"/>
                </a:cubicBezTo>
                <a:cubicBezTo>
                  <a:pt x="581" y="0"/>
                  <a:pt x="591" y="7"/>
                  <a:pt x="599" y="13"/>
                </a:cubicBezTo>
                <a:cubicBezTo>
                  <a:pt x="604" y="17"/>
                  <a:pt x="608" y="22"/>
                  <a:pt x="614" y="24"/>
                </a:cubicBezTo>
                <a:cubicBezTo>
                  <a:pt x="620" y="27"/>
                  <a:pt x="620" y="34"/>
                  <a:pt x="614" y="38"/>
                </a:cubicBezTo>
                <a:cubicBezTo>
                  <a:pt x="607" y="43"/>
                  <a:pt x="602" y="48"/>
                  <a:pt x="598" y="55"/>
                </a:cubicBezTo>
                <a:cubicBezTo>
                  <a:pt x="594" y="62"/>
                  <a:pt x="590" y="66"/>
                  <a:pt x="598" y="72"/>
                </a:cubicBezTo>
                <a:cubicBezTo>
                  <a:pt x="603" y="75"/>
                  <a:pt x="600" y="78"/>
                  <a:pt x="598" y="82"/>
                </a:cubicBezTo>
                <a:cubicBezTo>
                  <a:pt x="593" y="88"/>
                  <a:pt x="589" y="95"/>
                  <a:pt x="597" y="103"/>
                </a:cubicBezTo>
                <a:cubicBezTo>
                  <a:pt x="601" y="107"/>
                  <a:pt x="598" y="113"/>
                  <a:pt x="594" y="117"/>
                </a:cubicBezTo>
                <a:cubicBezTo>
                  <a:pt x="592" y="118"/>
                  <a:pt x="590" y="121"/>
                  <a:pt x="588" y="121"/>
                </a:cubicBezTo>
                <a:cubicBezTo>
                  <a:pt x="568" y="123"/>
                  <a:pt x="570" y="138"/>
                  <a:pt x="569" y="151"/>
                </a:cubicBezTo>
                <a:cubicBezTo>
                  <a:pt x="569" y="153"/>
                  <a:pt x="568" y="156"/>
                  <a:pt x="569" y="157"/>
                </a:cubicBezTo>
                <a:cubicBezTo>
                  <a:pt x="580" y="167"/>
                  <a:pt x="571" y="173"/>
                  <a:pt x="563" y="178"/>
                </a:cubicBezTo>
                <a:cubicBezTo>
                  <a:pt x="554" y="183"/>
                  <a:pt x="550" y="193"/>
                  <a:pt x="542" y="199"/>
                </a:cubicBezTo>
                <a:cubicBezTo>
                  <a:pt x="528" y="210"/>
                  <a:pt x="510" y="217"/>
                  <a:pt x="496" y="230"/>
                </a:cubicBezTo>
                <a:cubicBezTo>
                  <a:pt x="490" y="236"/>
                  <a:pt x="481" y="232"/>
                  <a:pt x="474" y="233"/>
                </a:cubicBezTo>
                <a:cubicBezTo>
                  <a:pt x="468" y="234"/>
                  <a:pt x="462" y="233"/>
                  <a:pt x="456" y="232"/>
                </a:cubicBezTo>
                <a:cubicBezTo>
                  <a:pt x="451" y="231"/>
                  <a:pt x="446" y="224"/>
                  <a:pt x="440" y="228"/>
                </a:cubicBezTo>
                <a:cubicBezTo>
                  <a:pt x="429" y="233"/>
                  <a:pt x="419" y="239"/>
                  <a:pt x="411" y="248"/>
                </a:cubicBezTo>
                <a:cubicBezTo>
                  <a:pt x="409" y="250"/>
                  <a:pt x="407" y="253"/>
                  <a:pt x="408" y="255"/>
                </a:cubicBezTo>
                <a:cubicBezTo>
                  <a:pt x="412" y="268"/>
                  <a:pt x="402" y="272"/>
                  <a:pt x="394" y="278"/>
                </a:cubicBezTo>
                <a:cubicBezTo>
                  <a:pt x="378" y="289"/>
                  <a:pt x="361" y="300"/>
                  <a:pt x="348" y="315"/>
                </a:cubicBezTo>
                <a:cubicBezTo>
                  <a:pt x="339" y="324"/>
                  <a:pt x="331" y="332"/>
                  <a:pt x="317" y="335"/>
                </a:cubicBezTo>
                <a:cubicBezTo>
                  <a:pt x="311" y="336"/>
                  <a:pt x="306" y="341"/>
                  <a:pt x="302" y="347"/>
                </a:cubicBezTo>
                <a:cubicBezTo>
                  <a:pt x="292" y="361"/>
                  <a:pt x="282" y="376"/>
                  <a:pt x="266" y="385"/>
                </a:cubicBezTo>
                <a:cubicBezTo>
                  <a:pt x="260" y="388"/>
                  <a:pt x="256" y="393"/>
                  <a:pt x="260" y="400"/>
                </a:cubicBezTo>
                <a:cubicBezTo>
                  <a:pt x="263" y="405"/>
                  <a:pt x="273" y="410"/>
                  <a:pt x="278" y="409"/>
                </a:cubicBezTo>
                <a:cubicBezTo>
                  <a:pt x="281" y="408"/>
                  <a:pt x="283" y="407"/>
                  <a:pt x="286" y="406"/>
                </a:cubicBezTo>
                <a:cubicBezTo>
                  <a:pt x="295" y="403"/>
                  <a:pt x="300" y="407"/>
                  <a:pt x="299" y="416"/>
                </a:cubicBezTo>
                <a:cubicBezTo>
                  <a:pt x="296" y="437"/>
                  <a:pt x="281" y="449"/>
                  <a:pt x="266" y="461"/>
                </a:cubicBezTo>
                <a:cubicBezTo>
                  <a:pt x="254" y="457"/>
                  <a:pt x="245" y="467"/>
                  <a:pt x="234" y="466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9" name="Freeform 24">
            <a:extLst>
              <a:ext uri="{FF2B5EF4-FFF2-40B4-BE49-F238E27FC236}">
                <a16:creationId xmlns:a16="http://schemas.microsoft.com/office/drawing/2014/main" id="{C2D14F10-CEDB-4A5A-B535-0460E96C8BDC}"/>
              </a:ext>
            </a:extLst>
          </p:cNvPr>
          <p:cNvSpPr>
            <a:spLocks/>
          </p:cNvSpPr>
          <p:nvPr/>
        </p:nvSpPr>
        <p:spPr bwMode="auto">
          <a:xfrm>
            <a:off x="6576254" y="5641011"/>
            <a:ext cx="455175" cy="387291"/>
          </a:xfrm>
          <a:custGeom>
            <a:avLst/>
            <a:gdLst>
              <a:gd name="T0" fmla="*/ 70 w 191"/>
              <a:gd name="T1" fmla="*/ 121 h 160"/>
              <a:gd name="T2" fmla="*/ 38 w 191"/>
              <a:gd name="T3" fmla="*/ 147 h 160"/>
              <a:gd name="T4" fmla="*/ 25 w 191"/>
              <a:gd name="T5" fmla="*/ 154 h 160"/>
              <a:gd name="T6" fmla="*/ 5 w 191"/>
              <a:gd name="T7" fmla="*/ 160 h 160"/>
              <a:gd name="T8" fmla="*/ 0 w 191"/>
              <a:gd name="T9" fmla="*/ 159 h 160"/>
              <a:gd name="T10" fmla="*/ 2 w 191"/>
              <a:gd name="T11" fmla="*/ 155 h 160"/>
              <a:gd name="T12" fmla="*/ 40 w 191"/>
              <a:gd name="T13" fmla="*/ 115 h 160"/>
              <a:gd name="T14" fmla="*/ 56 w 191"/>
              <a:gd name="T15" fmla="*/ 105 h 160"/>
              <a:gd name="T16" fmla="*/ 75 w 191"/>
              <a:gd name="T17" fmla="*/ 93 h 160"/>
              <a:gd name="T18" fmla="*/ 115 w 191"/>
              <a:gd name="T19" fmla="*/ 55 h 160"/>
              <a:gd name="T20" fmla="*/ 140 w 191"/>
              <a:gd name="T21" fmla="*/ 37 h 160"/>
              <a:gd name="T22" fmla="*/ 147 w 191"/>
              <a:gd name="T23" fmla="*/ 26 h 160"/>
              <a:gd name="T24" fmla="*/ 183 w 191"/>
              <a:gd name="T25" fmla="*/ 5 h 160"/>
              <a:gd name="T26" fmla="*/ 191 w 191"/>
              <a:gd name="T27" fmla="*/ 7 h 160"/>
              <a:gd name="T28" fmla="*/ 186 w 191"/>
              <a:gd name="T29" fmla="*/ 18 h 160"/>
              <a:gd name="T30" fmla="*/ 161 w 191"/>
              <a:gd name="T31" fmla="*/ 37 h 160"/>
              <a:gd name="T32" fmla="*/ 151 w 191"/>
              <a:gd name="T33" fmla="*/ 49 h 160"/>
              <a:gd name="T34" fmla="*/ 119 w 191"/>
              <a:gd name="T35" fmla="*/ 76 h 160"/>
              <a:gd name="T36" fmla="*/ 112 w 191"/>
              <a:gd name="T37" fmla="*/ 79 h 160"/>
              <a:gd name="T38" fmla="*/ 71 w 191"/>
              <a:gd name="T39" fmla="*/ 117 h 160"/>
              <a:gd name="T40" fmla="*/ 70 w 191"/>
              <a:gd name="T41" fmla="*/ 121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91" h="160">
                <a:moveTo>
                  <a:pt x="70" y="121"/>
                </a:moveTo>
                <a:cubicBezTo>
                  <a:pt x="53" y="123"/>
                  <a:pt x="45" y="135"/>
                  <a:pt x="38" y="147"/>
                </a:cubicBezTo>
                <a:cubicBezTo>
                  <a:pt x="35" y="153"/>
                  <a:pt x="33" y="158"/>
                  <a:pt x="25" y="154"/>
                </a:cubicBezTo>
                <a:cubicBezTo>
                  <a:pt x="17" y="151"/>
                  <a:pt x="12" y="160"/>
                  <a:pt x="5" y="160"/>
                </a:cubicBezTo>
                <a:cubicBezTo>
                  <a:pt x="3" y="160"/>
                  <a:pt x="2" y="159"/>
                  <a:pt x="0" y="159"/>
                </a:cubicBezTo>
                <a:cubicBezTo>
                  <a:pt x="1" y="158"/>
                  <a:pt x="1" y="156"/>
                  <a:pt x="2" y="155"/>
                </a:cubicBezTo>
                <a:cubicBezTo>
                  <a:pt x="18" y="145"/>
                  <a:pt x="27" y="128"/>
                  <a:pt x="40" y="115"/>
                </a:cubicBezTo>
                <a:cubicBezTo>
                  <a:pt x="45" y="111"/>
                  <a:pt x="48" y="106"/>
                  <a:pt x="56" y="105"/>
                </a:cubicBezTo>
                <a:cubicBezTo>
                  <a:pt x="64" y="105"/>
                  <a:pt x="72" y="100"/>
                  <a:pt x="75" y="93"/>
                </a:cubicBezTo>
                <a:cubicBezTo>
                  <a:pt x="85" y="76"/>
                  <a:pt x="102" y="67"/>
                  <a:pt x="115" y="55"/>
                </a:cubicBezTo>
                <a:cubicBezTo>
                  <a:pt x="123" y="48"/>
                  <a:pt x="131" y="43"/>
                  <a:pt x="140" y="37"/>
                </a:cubicBezTo>
                <a:cubicBezTo>
                  <a:pt x="144" y="35"/>
                  <a:pt x="146" y="31"/>
                  <a:pt x="147" y="26"/>
                </a:cubicBezTo>
                <a:cubicBezTo>
                  <a:pt x="152" y="7"/>
                  <a:pt x="163" y="0"/>
                  <a:pt x="183" y="5"/>
                </a:cubicBezTo>
                <a:cubicBezTo>
                  <a:pt x="186" y="5"/>
                  <a:pt x="191" y="4"/>
                  <a:pt x="191" y="7"/>
                </a:cubicBezTo>
                <a:cubicBezTo>
                  <a:pt x="191" y="11"/>
                  <a:pt x="189" y="15"/>
                  <a:pt x="186" y="18"/>
                </a:cubicBezTo>
                <a:cubicBezTo>
                  <a:pt x="178" y="24"/>
                  <a:pt x="168" y="29"/>
                  <a:pt x="161" y="37"/>
                </a:cubicBezTo>
                <a:cubicBezTo>
                  <a:pt x="157" y="41"/>
                  <a:pt x="154" y="45"/>
                  <a:pt x="151" y="49"/>
                </a:cubicBezTo>
                <a:cubicBezTo>
                  <a:pt x="144" y="63"/>
                  <a:pt x="133" y="71"/>
                  <a:pt x="119" y="76"/>
                </a:cubicBezTo>
                <a:cubicBezTo>
                  <a:pt x="116" y="77"/>
                  <a:pt x="113" y="77"/>
                  <a:pt x="112" y="79"/>
                </a:cubicBezTo>
                <a:cubicBezTo>
                  <a:pt x="100" y="94"/>
                  <a:pt x="85" y="105"/>
                  <a:pt x="71" y="117"/>
                </a:cubicBezTo>
                <a:cubicBezTo>
                  <a:pt x="70" y="118"/>
                  <a:pt x="71" y="120"/>
                  <a:pt x="70" y="121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1" name="Freeform 22">
            <a:extLst>
              <a:ext uri="{FF2B5EF4-FFF2-40B4-BE49-F238E27FC236}">
                <a16:creationId xmlns:a16="http://schemas.microsoft.com/office/drawing/2014/main" id="{A62B1686-7517-4402-B0A7-8CE44BF0C1D5}"/>
              </a:ext>
            </a:extLst>
          </p:cNvPr>
          <p:cNvSpPr>
            <a:spLocks/>
          </p:cNvSpPr>
          <p:nvPr/>
        </p:nvSpPr>
        <p:spPr bwMode="auto">
          <a:xfrm>
            <a:off x="7308354" y="4977776"/>
            <a:ext cx="536344" cy="466363"/>
          </a:xfrm>
          <a:custGeom>
            <a:avLst/>
            <a:gdLst>
              <a:gd name="T0" fmla="*/ 34 w 225"/>
              <a:gd name="T1" fmla="*/ 110 h 193"/>
              <a:gd name="T2" fmla="*/ 32 w 225"/>
              <a:gd name="T3" fmla="*/ 107 h 193"/>
              <a:gd name="T4" fmla="*/ 37 w 225"/>
              <a:gd name="T5" fmla="*/ 87 h 193"/>
              <a:gd name="T6" fmla="*/ 52 w 225"/>
              <a:gd name="T7" fmla="*/ 64 h 193"/>
              <a:gd name="T8" fmla="*/ 61 w 225"/>
              <a:gd name="T9" fmla="*/ 56 h 193"/>
              <a:gd name="T10" fmla="*/ 81 w 225"/>
              <a:gd name="T11" fmla="*/ 47 h 193"/>
              <a:gd name="T12" fmla="*/ 87 w 225"/>
              <a:gd name="T13" fmla="*/ 39 h 193"/>
              <a:gd name="T14" fmla="*/ 101 w 225"/>
              <a:gd name="T15" fmla="*/ 15 h 193"/>
              <a:gd name="T16" fmla="*/ 109 w 225"/>
              <a:gd name="T17" fmla="*/ 16 h 193"/>
              <a:gd name="T18" fmla="*/ 138 w 225"/>
              <a:gd name="T19" fmla="*/ 28 h 193"/>
              <a:gd name="T20" fmla="*/ 151 w 225"/>
              <a:gd name="T21" fmla="*/ 30 h 193"/>
              <a:gd name="T22" fmla="*/ 166 w 225"/>
              <a:gd name="T23" fmla="*/ 27 h 193"/>
              <a:gd name="T24" fmla="*/ 199 w 225"/>
              <a:gd name="T25" fmla="*/ 6 h 193"/>
              <a:gd name="T26" fmla="*/ 212 w 225"/>
              <a:gd name="T27" fmla="*/ 2 h 193"/>
              <a:gd name="T28" fmla="*/ 219 w 225"/>
              <a:gd name="T29" fmla="*/ 6 h 193"/>
              <a:gd name="T30" fmla="*/ 224 w 225"/>
              <a:gd name="T31" fmla="*/ 35 h 193"/>
              <a:gd name="T32" fmla="*/ 221 w 225"/>
              <a:gd name="T33" fmla="*/ 38 h 193"/>
              <a:gd name="T34" fmla="*/ 138 w 225"/>
              <a:gd name="T35" fmla="*/ 80 h 193"/>
              <a:gd name="T36" fmla="*/ 124 w 225"/>
              <a:gd name="T37" fmla="*/ 90 h 193"/>
              <a:gd name="T38" fmla="*/ 75 w 225"/>
              <a:gd name="T39" fmla="*/ 121 h 193"/>
              <a:gd name="T40" fmla="*/ 38 w 225"/>
              <a:gd name="T41" fmla="*/ 153 h 193"/>
              <a:gd name="T42" fmla="*/ 23 w 225"/>
              <a:gd name="T43" fmla="*/ 185 h 193"/>
              <a:gd name="T44" fmla="*/ 8 w 225"/>
              <a:gd name="T45" fmla="*/ 190 h 193"/>
              <a:gd name="T46" fmla="*/ 2 w 225"/>
              <a:gd name="T47" fmla="*/ 173 h 193"/>
              <a:gd name="T48" fmla="*/ 5 w 225"/>
              <a:gd name="T49" fmla="*/ 171 h 193"/>
              <a:gd name="T50" fmla="*/ 25 w 225"/>
              <a:gd name="T51" fmla="*/ 151 h 193"/>
              <a:gd name="T52" fmla="*/ 27 w 225"/>
              <a:gd name="T53" fmla="*/ 143 h 193"/>
              <a:gd name="T54" fmla="*/ 33 w 225"/>
              <a:gd name="T55" fmla="*/ 114 h 193"/>
              <a:gd name="T56" fmla="*/ 34 w 225"/>
              <a:gd name="T57" fmla="*/ 110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5" h="193">
                <a:moveTo>
                  <a:pt x="34" y="110"/>
                </a:moveTo>
                <a:cubicBezTo>
                  <a:pt x="34" y="109"/>
                  <a:pt x="33" y="108"/>
                  <a:pt x="32" y="107"/>
                </a:cubicBezTo>
                <a:cubicBezTo>
                  <a:pt x="27" y="94"/>
                  <a:pt x="26" y="93"/>
                  <a:pt x="37" y="87"/>
                </a:cubicBezTo>
                <a:cubicBezTo>
                  <a:pt x="46" y="82"/>
                  <a:pt x="53" y="76"/>
                  <a:pt x="52" y="64"/>
                </a:cubicBezTo>
                <a:cubicBezTo>
                  <a:pt x="52" y="58"/>
                  <a:pt x="56" y="56"/>
                  <a:pt x="61" y="56"/>
                </a:cubicBezTo>
                <a:cubicBezTo>
                  <a:pt x="69" y="56"/>
                  <a:pt x="75" y="52"/>
                  <a:pt x="81" y="47"/>
                </a:cubicBezTo>
                <a:cubicBezTo>
                  <a:pt x="84" y="45"/>
                  <a:pt x="87" y="41"/>
                  <a:pt x="87" y="39"/>
                </a:cubicBezTo>
                <a:cubicBezTo>
                  <a:pt x="80" y="24"/>
                  <a:pt x="96" y="23"/>
                  <a:pt x="101" y="15"/>
                </a:cubicBezTo>
                <a:cubicBezTo>
                  <a:pt x="103" y="12"/>
                  <a:pt x="107" y="12"/>
                  <a:pt x="109" y="16"/>
                </a:cubicBezTo>
                <a:cubicBezTo>
                  <a:pt x="115" y="27"/>
                  <a:pt x="126" y="29"/>
                  <a:pt x="138" y="28"/>
                </a:cubicBezTo>
                <a:cubicBezTo>
                  <a:pt x="142" y="27"/>
                  <a:pt x="147" y="27"/>
                  <a:pt x="151" y="30"/>
                </a:cubicBezTo>
                <a:cubicBezTo>
                  <a:pt x="157" y="33"/>
                  <a:pt x="161" y="31"/>
                  <a:pt x="166" y="27"/>
                </a:cubicBezTo>
                <a:cubicBezTo>
                  <a:pt x="176" y="18"/>
                  <a:pt x="190" y="16"/>
                  <a:pt x="199" y="6"/>
                </a:cubicBezTo>
                <a:cubicBezTo>
                  <a:pt x="202" y="3"/>
                  <a:pt x="208" y="4"/>
                  <a:pt x="212" y="2"/>
                </a:cubicBezTo>
                <a:cubicBezTo>
                  <a:pt x="217" y="0"/>
                  <a:pt x="217" y="2"/>
                  <a:pt x="219" y="6"/>
                </a:cubicBezTo>
                <a:cubicBezTo>
                  <a:pt x="224" y="15"/>
                  <a:pt x="220" y="26"/>
                  <a:pt x="224" y="35"/>
                </a:cubicBezTo>
                <a:cubicBezTo>
                  <a:pt x="225" y="38"/>
                  <a:pt x="223" y="37"/>
                  <a:pt x="221" y="38"/>
                </a:cubicBezTo>
                <a:cubicBezTo>
                  <a:pt x="193" y="52"/>
                  <a:pt x="167" y="68"/>
                  <a:pt x="138" y="80"/>
                </a:cubicBezTo>
                <a:cubicBezTo>
                  <a:pt x="133" y="82"/>
                  <a:pt x="129" y="87"/>
                  <a:pt x="124" y="90"/>
                </a:cubicBezTo>
                <a:cubicBezTo>
                  <a:pt x="109" y="103"/>
                  <a:pt x="91" y="111"/>
                  <a:pt x="75" y="121"/>
                </a:cubicBezTo>
                <a:cubicBezTo>
                  <a:pt x="61" y="130"/>
                  <a:pt x="48" y="139"/>
                  <a:pt x="38" y="153"/>
                </a:cubicBezTo>
                <a:cubicBezTo>
                  <a:pt x="31" y="163"/>
                  <a:pt x="28" y="174"/>
                  <a:pt x="23" y="185"/>
                </a:cubicBezTo>
                <a:cubicBezTo>
                  <a:pt x="19" y="193"/>
                  <a:pt x="14" y="190"/>
                  <a:pt x="8" y="190"/>
                </a:cubicBezTo>
                <a:cubicBezTo>
                  <a:pt x="6" y="190"/>
                  <a:pt x="0" y="175"/>
                  <a:pt x="2" y="173"/>
                </a:cubicBezTo>
                <a:cubicBezTo>
                  <a:pt x="2" y="172"/>
                  <a:pt x="4" y="171"/>
                  <a:pt x="5" y="171"/>
                </a:cubicBezTo>
                <a:cubicBezTo>
                  <a:pt x="17" y="169"/>
                  <a:pt x="19" y="158"/>
                  <a:pt x="25" y="151"/>
                </a:cubicBezTo>
                <a:cubicBezTo>
                  <a:pt x="26" y="149"/>
                  <a:pt x="28" y="145"/>
                  <a:pt x="27" y="143"/>
                </a:cubicBezTo>
                <a:cubicBezTo>
                  <a:pt x="22" y="132"/>
                  <a:pt x="26" y="123"/>
                  <a:pt x="33" y="114"/>
                </a:cubicBezTo>
                <a:cubicBezTo>
                  <a:pt x="34" y="113"/>
                  <a:pt x="34" y="112"/>
                  <a:pt x="34" y="11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19191B7E-1837-4C13-A89E-C02D70E4F30C}"/>
              </a:ext>
            </a:extLst>
          </p:cNvPr>
          <p:cNvSpPr txBox="1"/>
          <p:nvPr/>
        </p:nvSpPr>
        <p:spPr>
          <a:xfrm>
            <a:off x="4556769" y="3417615"/>
            <a:ext cx="528074" cy="138499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Marília 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B0041787-1C6F-475E-8899-386B2F28E283}"/>
              </a:ext>
            </a:extLst>
          </p:cNvPr>
          <p:cNvSpPr txBox="1"/>
          <p:nvPr/>
        </p:nvSpPr>
        <p:spPr>
          <a:xfrm>
            <a:off x="5709585" y="3800695"/>
            <a:ext cx="443982" cy="138499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auru 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31748E62-56C7-4060-ACE2-C63420B2128B}"/>
              </a:ext>
            </a:extLst>
          </p:cNvPr>
          <p:cNvSpPr txBox="1"/>
          <p:nvPr/>
        </p:nvSpPr>
        <p:spPr>
          <a:xfrm>
            <a:off x="6093857" y="4724036"/>
            <a:ext cx="743210" cy="138499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orocaba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556B83F1-7DA5-4E88-B38B-BD515DB8DA23}"/>
              </a:ext>
            </a:extLst>
          </p:cNvPr>
          <p:cNvSpPr txBox="1"/>
          <p:nvPr/>
        </p:nvSpPr>
        <p:spPr>
          <a:xfrm>
            <a:off x="6311884" y="5433132"/>
            <a:ext cx="720025" cy="138499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egistro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128732D2-DDA2-4B8B-B508-F1FA64F97FAA}"/>
              </a:ext>
            </a:extLst>
          </p:cNvPr>
          <p:cNvSpPr txBox="1"/>
          <p:nvPr/>
        </p:nvSpPr>
        <p:spPr>
          <a:xfrm>
            <a:off x="6407725" y="1675790"/>
            <a:ext cx="771886" cy="138499"/>
          </a:xfrm>
          <a:prstGeom prst="rect">
            <a:avLst/>
          </a:prstGeom>
          <a:solidFill>
            <a:srgbClr val="FF0000"/>
          </a:solidFill>
          <a:ln w="12700"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ranca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0B65FCEC-2028-431A-8F9A-28A2CD3918E1}"/>
              </a:ext>
            </a:extLst>
          </p:cNvPr>
          <p:cNvSpPr txBox="1"/>
          <p:nvPr/>
        </p:nvSpPr>
        <p:spPr>
          <a:xfrm>
            <a:off x="3058604" y="3118326"/>
            <a:ext cx="1018328" cy="2769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esidente Prudente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F48A3316-09E6-4B49-86B5-CAC26735BBF8}"/>
              </a:ext>
            </a:extLst>
          </p:cNvPr>
          <p:cNvSpPr txBox="1"/>
          <p:nvPr/>
        </p:nvSpPr>
        <p:spPr>
          <a:xfrm>
            <a:off x="5613937" y="1816169"/>
            <a:ext cx="68977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arretos 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986FA6BE-7A79-42A0-A10F-DA75D4D5EFAA}"/>
              </a:ext>
            </a:extLst>
          </p:cNvPr>
          <p:cNvSpPr txBox="1"/>
          <p:nvPr/>
        </p:nvSpPr>
        <p:spPr>
          <a:xfrm>
            <a:off x="4615274" y="1753377"/>
            <a:ext cx="967739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ão José do </a:t>
            </a:r>
            <a:b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io Preto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A7998119-FA01-4592-A728-75CE530FDDB7}"/>
              </a:ext>
            </a:extLst>
          </p:cNvPr>
          <p:cNvSpPr txBox="1"/>
          <p:nvPr/>
        </p:nvSpPr>
        <p:spPr>
          <a:xfrm>
            <a:off x="3831669" y="2264053"/>
            <a:ext cx="819253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raçatuba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0A10DCCC-DEB7-4FDA-B4E2-96E2A1838EE6}"/>
              </a:ext>
            </a:extLst>
          </p:cNvPr>
          <p:cNvSpPr txBox="1"/>
          <p:nvPr/>
        </p:nvSpPr>
        <p:spPr>
          <a:xfrm>
            <a:off x="6493995" y="2365648"/>
            <a:ext cx="641611" cy="2769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Ribeirão </a:t>
            </a:r>
            <a:b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reto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942F9753-A2F1-42EA-A8F6-7A435A73308A}"/>
              </a:ext>
            </a:extLst>
          </p:cNvPr>
          <p:cNvSpPr txBox="1"/>
          <p:nvPr/>
        </p:nvSpPr>
        <p:spPr>
          <a:xfrm>
            <a:off x="5883414" y="2891128"/>
            <a:ext cx="776494" cy="1384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raraquara</a:t>
            </a: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B1234AB9-AA5E-4C91-9376-B6552E8509AE}"/>
              </a:ext>
            </a:extLst>
          </p:cNvPr>
          <p:cNvSpPr txBox="1"/>
          <p:nvPr/>
        </p:nvSpPr>
        <p:spPr>
          <a:xfrm>
            <a:off x="7180524" y="2952504"/>
            <a:ext cx="486700" cy="4154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.J. da </a:t>
            </a:r>
            <a:b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oa Vista</a:t>
            </a:r>
          </a:p>
        </p:txBody>
      </p:sp>
      <p:sp>
        <p:nvSpPr>
          <p:cNvPr id="251" name="TextBox 250">
            <a:extLst>
              <a:ext uri="{FF2B5EF4-FFF2-40B4-BE49-F238E27FC236}">
                <a16:creationId xmlns:a16="http://schemas.microsoft.com/office/drawing/2014/main" id="{9A0CFA65-11E3-4419-99F8-9EAF0FAA10BF}"/>
              </a:ext>
            </a:extLst>
          </p:cNvPr>
          <p:cNvSpPr txBox="1"/>
          <p:nvPr/>
        </p:nvSpPr>
        <p:spPr>
          <a:xfrm>
            <a:off x="6543909" y="3443651"/>
            <a:ext cx="759341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Piracicaba</a:t>
            </a:r>
          </a:p>
        </p:txBody>
      </p:sp>
      <p:sp>
        <p:nvSpPr>
          <p:cNvPr id="249" name="TextBox 248">
            <a:extLst>
              <a:ext uri="{FF2B5EF4-FFF2-40B4-BE49-F238E27FC236}">
                <a16:creationId xmlns:a16="http://schemas.microsoft.com/office/drawing/2014/main" id="{300075E2-818D-4EA4-A082-63E7053E6C56}"/>
              </a:ext>
            </a:extLst>
          </p:cNvPr>
          <p:cNvSpPr txBox="1"/>
          <p:nvPr/>
        </p:nvSpPr>
        <p:spPr>
          <a:xfrm>
            <a:off x="7213276" y="3978041"/>
            <a:ext cx="729591" cy="138499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ampinas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788F27D9-0B47-4B6D-993D-522B7CD64E93}"/>
              </a:ext>
            </a:extLst>
          </p:cNvPr>
          <p:cNvSpPr txBox="1"/>
          <p:nvPr/>
        </p:nvSpPr>
        <p:spPr>
          <a:xfrm>
            <a:off x="8423879" y="4160553"/>
            <a:ext cx="559461" cy="138499"/>
          </a:xfrm>
          <a:prstGeom prst="rect">
            <a:avLst/>
          </a:prstGeom>
          <a:solidFill>
            <a:srgbClr val="FF0000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Taubaté</a:t>
            </a:r>
          </a:p>
        </p:txBody>
      </p:sp>
      <p:sp>
        <p:nvSpPr>
          <p:cNvPr id="124" name="TextBox 239">
            <a:extLst>
              <a:ext uri="{FF2B5EF4-FFF2-40B4-BE49-F238E27FC236}">
                <a16:creationId xmlns:a16="http://schemas.microsoft.com/office/drawing/2014/main" id="{938B3D88-0274-459C-966B-568E5F44C01C}"/>
              </a:ext>
            </a:extLst>
          </p:cNvPr>
          <p:cNvSpPr txBox="1"/>
          <p:nvPr/>
        </p:nvSpPr>
        <p:spPr>
          <a:xfrm>
            <a:off x="7968157" y="5128756"/>
            <a:ext cx="1726800" cy="3266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aixada </a:t>
            </a:r>
            <a:b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antista</a:t>
            </a:r>
          </a:p>
        </p:txBody>
      </p:sp>
      <p:sp>
        <p:nvSpPr>
          <p:cNvPr id="232" name="Freeform 23">
            <a:extLst>
              <a:ext uri="{FF2B5EF4-FFF2-40B4-BE49-F238E27FC236}">
                <a16:creationId xmlns:a16="http://schemas.microsoft.com/office/drawing/2014/main" id="{E14BA4E1-B274-4FE7-9314-55EA8E3CBF66}"/>
              </a:ext>
            </a:extLst>
          </p:cNvPr>
          <p:cNvSpPr>
            <a:spLocks/>
          </p:cNvSpPr>
          <p:nvPr/>
        </p:nvSpPr>
        <p:spPr bwMode="auto">
          <a:xfrm>
            <a:off x="7839922" y="4750243"/>
            <a:ext cx="537934" cy="330811"/>
          </a:xfrm>
          <a:custGeom>
            <a:avLst/>
            <a:gdLst>
              <a:gd name="T0" fmla="*/ 57 w 226"/>
              <a:gd name="T1" fmla="*/ 128 h 137"/>
              <a:gd name="T2" fmla="*/ 63 w 226"/>
              <a:gd name="T3" fmla="*/ 109 h 137"/>
              <a:gd name="T4" fmla="*/ 45 w 226"/>
              <a:gd name="T5" fmla="*/ 85 h 137"/>
              <a:gd name="T6" fmla="*/ 11 w 226"/>
              <a:gd name="T7" fmla="*/ 91 h 137"/>
              <a:gd name="T8" fmla="*/ 2 w 226"/>
              <a:gd name="T9" fmla="*/ 90 h 137"/>
              <a:gd name="T10" fmla="*/ 3 w 226"/>
              <a:gd name="T11" fmla="*/ 81 h 137"/>
              <a:gd name="T12" fmla="*/ 39 w 226"/>
              <a:gd name="T13" fmla="*/ 52 h 137"/>
              <a:gd name="T14" fmla="*/ 45 w 226"/>
              <a:gd name="T15" fmla="*/ 52 h 137"/>
              <a:gd name="T16" fmla="*/ 60 w 226"/>
              <a:gd name="T17" fmla="*/ 48 h 137"/>
              <a:gd name="T18" fmla="*/ 75 w 226"/>
              <a:gd name="T19" fmla="*/ 37 h 137"/>
              <a:gd name="T20" fmla="*/ 84 w 226"/>
              <a:gd name="T21" fmla="*/ 35 h 137"/>
              <a:gd name="T22" fmla="*/ 108 w 226"/>
              <a:gd name="T23" fmla="*/ 31 h 137"/>
              <a:gd name="T24" fmla="*/ 120 w 226"/>
              <a:gd name="T25" fmla="*/ 26 h 137"/>
              <a:gd name="T26" fmla="*/ 149 w 226"/>
              <a:gd name="T27" fmla="*/ 25 h 137"/>
              <a:gd name="T28" fmla="*/ 194 w 226"/>
              <a:gd name="T29" fmla="*/ 7 h 137"/>
              <a:gd name="T30" fmla="*/ 218 w 226"/>
              <a:gd name="T31" fmla="*/ 8 h 137"/>
              <a:gd name="T32" fmla="*/ 215 w 226"/>
              <a:gd name="T33" fmla="*/ 28 h 137"/>
              <a:gd name="T34" fmla="*/ 197 w 226"/>
              <a:gd name="T35" fmla="*/ 35 h 137"/>
              <a:gd name="T36" fmla="*/ 152 w 226"/>
              <a:gd name="T37" fmla="*/ 50 h 137"/>
              <a:gd name="T38" fmla="*/ 141 w 226"/>
              <a:gd name="T39" fmla="*/ 53 h 137"/>
              <a:gd name="T40" fmla="*/ 112 w 226"/>
              <a:gd name="T41" fmla="*/ 72 h 137"/>
              <a:gd name="T42" fmla="*/ 97 w 226"/>
              <a:gd name="T43" fmla="*/ 98 h 137"/>
              <a:gd name="T44" fmla="*/ 95 w 226"/>
              <a:gd name="T45" fmla="*/ 106 h 137"/>
              <a:gd name="T46" fmla="*/ 88 w 226"/>
              <a:gd name="T47" fmla="*/ 117 h 137"/>
              <a:gd name="T48" fmla="*/ 66 w 226"/>
              <a:gd name="T49" fmla="*/ 133 h 137"/>
              <a:gd name="T50" fmla="*/ 59 w 226"/>
              <a:gd name="T51" fmla="*/ 135 h 137"/>
              <a:gd name="T52" fmla="*/ 57 w 226"/>
              <a:gd name="T53" fmla="*/ 128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26" h="137">
                <a:moveTo>
                  <a:pt x="57" y="128"/>
                </a:moveTo>
                <a:cubicBezTo>
                  <a:pt x="56" y="121"/>
                  <a:pt x="60" y="115"/>
                  <a:pt x="63" y="109"/>
                </a:cubicBezTo>
                <a:cubicBezTo>
                  <a:pt x="68" y="97"/>
                  <a:pt x="58" y="82"/>
                  <a:pt x="45" y="85"/>
                </a:cubicBezTo>
                <a:cubicBezTo>
                  <a:pt x="33" y="86"/>
                  <a:pt x="21" y="84"/>
                  <a:pt x="11" y="91"/>
                </a:cubicBezTo>
                <a:cubicBezTo>
                  <a:pt x="8" y="93"/>
                  <a:pt x="4" y="93"/>
                  <a:pt x="2" y="90"/>
                </a:cubicBezTo>
                <a:cubicBezTo>
                  <a:pt x="0" y="87"/>
                  <a:pt x="1" y="84"/>
                  <a:pt x="3" y="81"/>
                </a:cubicBezTo>
                <a:cubicBezTo>
                  <a:pt x="11" y="66"/>
                  <a:pt x="26" y="60"/>
                  <a:pt x="39" y="52"/>
                </a:cubicBezTo>
                <a:cubicBezTo>
                  <a:pt x="41" y="51"/>
                  <a:pt x="43" y="51"/>
                  <a:pt x="45" y="52"/>
                </a:cubicBezTo>
                <a:cubicBezTo>
                  <a:pt x="52" y="56"/>
                  <a:pt x="56" y="52"/>
                  <a:pt x="60" y="48"/>
                </a:cubicBezTo>
                <a:cubicBezTo>
                  <a:pt x="65" y="44"/>
                  <a:pt x="70" y="41"/>
                  <a:pt x="75" y="37"/>
                </a:cubicBezTo>
                <a:cubicBezTo>
                  <a:pt x="78" y="35"/>
                  <a:pt x="80" y="33"/>
                  <a:pt x="84" y="35"/>
                </a:cubicBezTo>
                <a:cubicBezTo>
                  <a:pt x="93" y="40"/>
                  <a:pt x="100" y="35"/>
                  <a:pt x="108" y="31"/>
                </a:cubicBezTo>
                <a:cubicBezTo>
                  <a:pt x="112" y="29"/>
                  <a:pt x="115" y="23"/>
                  <a:pt x="120" y="26"/>
                </a:cubicBezTo>
                <a:cubicBezTo>
                  <a:pt x="130" y="33"/>
                  <a:pt x="140" y="27"/>
                  <a:pt x="149" y="25"/>
                </a:cubicBezTo>
                <a:cubicBezTo>
                  <a:pt x="164" y="21"/>
                  <a:pt x="181" y="20"/>
                  <a:pt x="194" y="7"/>
                </a:cubicBezTo>
                <a:cubicBezTo>
                  <a:pt x="200" y="0"/>
                  <a:pt x="213" y="3"/>
                  <a:pt x="218" y="8"/>
                </a:cubicBezTo>
                <a:cubicBezTo>
                  <a:pt x="226" y="15"/>
                  <a:pt x="225" y="24"/>
                  <a:pt x="215" y="28"/>
                </a:cubicBezTo>
                <a:cubicBezTo>
                  <a:pt x="210" y="31"/>
                  <a:pt x="203" y="33"/>
                  <a:pt x="197" y="35"/>
                </a:cubicBezTo>
                <a:cubicBezTo>
                  <a:pt x="181" y="39"/>
                  <a:pt x="166" y="41"/>
                  <a:pt x="152" y="50"/>
                </a:cubicBezTo>
                <a:cubicBezTo>
                  <a:pt x="149" y="53"/>
                  <a:pt x="145" y="53"/>
                  <a:pt x="141" y="53"/>
                </a:cubicBezTo>
                <a:cubicBezTo>
                  <a:pt x="126" y="51"/>
                  <a:pt x="117" y="59"/>
                  <a:pt x="112" y="72"/>
                </a:cubicBezTo>
                <a:cubicBezTo>
                  <a:pt x="108" y="81"/>
                  <a:pt x="105" y="91"/>
                  <a:pt x="97" y="98"/>
                </a:cubicBezTo>
                <a:cubicBezTo>
                  <a:pt x="94" y="100"/>
                  <a:pt x="93" y="103"/>
                  <a:pt x="95" y="106"/>
                </a:cubicBezTo>
                <a:cubicBezTo>
                  <a:pt x="97" y="112"/>
                  <a:pt x="93" y="115"/>
                  <a:pt x="88" y="117"/>
                </a:cubicBezTo>
                <a:cubicBezTo>
                  <a:pt x="79" y="121"/>
                  <a:pt x="72" y="126"/>
                  <a:pt x="66" y="133"/>
                </a:cubicBezTo>
                <a:cubicBezTo>
                  <a:pt x="64" y="135"/>
                  <a:pt x="61" y="137"/>
                  <a:pt x="59" y="135"/>
                </a:cubicBezTo>
                <a:cubicBezTo>
                  <a:pt x="56" y="134"/>
                  <a:pt x="56" y="131"/>
                  <a:pt x="57" y="128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3" name="Freeform 25">
            <a:extLst>
              <a:ext uri="{FF2B5EF4-FFF2-40B4-BE49-F238E27FC236}">
                <a16:creationId xmlns:a16="http://schemas.microsoft.com/office/drawing/2014/main" id="{44D2D6A5-26EE-4C9E-B842-59FBE52F5920}"/>
              </a:ext>
            </a:extLst>
          </p:cNvPr>
          <p:cNvSpPr>
            <a:spLocks/>
          </p:cNvSpPr>
          <p:nvPr/>
        </p:nvSpPr>
        <p:spPr bwMode="auto">
          <a:xfrm>
            <a:off x="7859021" y="4969707"/>
            <a:ext cx="114589" cy="66164"/>
          </a:xfrm>
          <a:custGeom>
            <a:avLst/>
            <a:gdLst>
              <a:gd name="T0" fmla="*/ 12 w 48"/>
              <a:gd name="T1" fmla="*/ 26 h 27"/>
              <a:gd name="T2" fmla="*/ 1 w 48"/>
              <a:gd name="T3" fmla="*/ 22 h 27"/>
              <a:gd name="T4" fmla="*/ 5 w 48"/>
              <a:gd name="T5" fmla="*/ 11 h 27"/>
              <a:gd name="T6" fmla="*/ 43 w 48"/>
              <a:gd name="T7" fmla="*/ 6 h 27"/>
              <a:gd name="T8" fmla="*/ 48 w 48"/>
              <a:gd name="T9" fmla="*/ 12 h 27"/>
              <a:gd name="T10" fmla="*/ 43 w 48"/>
              <a:gd name="T11" fmla="*/ 18 h 27"/>
              <a:gd name="T12" fmla="*/ 12 w 48"/>
              <a:gd name="T13" fmla="*/ 26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" h="27">
                <a:moveTo>
                  <a:pt x="12" y="26"/>
                </a:moveTo>
                <a:cubicBezTo>
                  <a:pt x="7" y="26"/>
                  <a:pt x="3" y="27"/>
                  <a:pt x="1" y="22"/>
                </a:cubicBezTo>
                <a:cubicBezTo>
                  <a:pt x="0" y="18"/>
                  <a:pt x="2" y="14"/>
                  <a:pt x="5" y="11"/>
                </a:cubicBezTo>
                <a:cubicBezTo>
                  <a:pt x="14" y="2"/>
                  <a:pt x="32" y="0"/>
                  <a:pt x="43" y="6"/>
                </a:cubicBezTo>
                <a:cubicBezTo>
                  <a:pt x="46" y="8"/>
                  <a:pt x="48" y="9"/>
                  <a:pt x="48" y="12"/>
                </a:cubicBezTo>
                <a:cubicBezTo>
                  <a:pt x="48" y="15"/>
                  <a:pt x="46" y="17"/>
                  <a:pt x="43" y="18"/>
                </a:cubicBezTo>
                <a:cubicBezTo>
                  <a:pt x="33" y="22"/>
                  <a:pt x="22" y="24"/>
                  <a:pt x="12" y="26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3" name="Freeform: Shape 162">
            <a:extLst>
              <a:ext uri="{FF2B5EF4-FFF2-40B4-BE49-F238E27FC236}">
                <a16:creationId xmlns:a16="http://schemas.microsoft.com/office/drawing/2014/main" id="{77841108-E05A-4560-A4A8-57FC52E2A00E}"/>
              </a:ext>
            </a:extLst>
          </p:cNvPr>
          <p:cNvSpPr/>
          <p:nvPr/>
        </p:nvSpPr>
        <p:spPr>
          <a:xfrm>
            <a:off x="7552375" y="4458621"/>
            <a:ext cx="372100" cy="558671"/>
          </a:xfrm>
          <a:custGeom>
            <a:avLst/>
            <a:gdLst>
              <a:gd name="connsiteX0" fmla="*/ 145443 w 2017369"/>
              <a:gd name="connsiteY0" fmla="*/ 2794303 h 3054108"/>
              <a:gd name="connsiteX1" fmla="*/ 340515 w 2017369"/>
              <a:gd name="connsiteY1" fmla="*/ 3032047 h 3054108"/>
              <a:gd name="connsiteX2" fmla="*/ 870867 w 2017369"/>
              <a:gd name="connsiteY2" fmla="*/ 3001567 h 3054108"/>
              <a:gd name="connsiteX3" fmla="*/ 950115 w 2017369"/>
              <a:gd name="connsiteY3" fmla="*/ 2660191 h 3054108"/>
              <a:gd name="connsiteX4" fmla="*/ 901347 w 2017369"/>
              <a:gd name="connsiteY4" fmla="*/ 2367583 h 3054108"/>
              <a:gd name="connsiteX5" fmla="*/ 895251 w 2017369"/>
              <a:gd name="connsiteY5" fmla="*/ 2202991 h 3054108"/>
              <a:gd name="connsiteX6" fmla="*/ 931827 w 2017369"/>
              <a:gd name="connsiteY6" fmla="*/ 2007919 h 3054108"/>
              <a:gd name="connsiteX7" fmla="*/ 803811 w 2017369"/>
              <a:gd name="connsiteY7" fmla="*/ 1867711 h 3054108"/>
              <a:gd name="connsiteX8" fmla="*/ 791619 w 2017369"/>
              <a:gd name="connsiteY8" fmla="*/ 1776271 h 3054108"/>
              <a:gd name="connsiteX9" fmla="*/ 895251 w 2017369"/>
              <a:gd name="connsiteY9" fmla="*/ 1721407 h 3054108"/>
              <a:gd name="connsiteX10" fmla="*/ 858675 w 2017369"/>
              <a:gd name="connsiteY10" fmla="*/ 1556815 h 3054108"/>
              <a:gd name="connsiteX11" fmla="*/ 870867 w 2017369"/>
              <a:gd name="connsiteY11" fmla="*/ 1471471 h 3054108"/>
              <a:gd name="connsiteX12" fmla="*/ 956211 w 2017369"/>
              <a:gd name="connsiteY12" fmla="*/ 1440991 h 3054108"/>
              <a:gd name="connsiteX13" fmla="*/ 1078131 w 2017369"/>
              <a:gd name="connsiteY13" fmla="*/ 1300783 h 3054108"/>
              <a:gd name="connsiteX14" fmla="*/ 1096419 w 2017369"/>
              <a:gd name="connsiteY14" fmla="*/ 1203247 h 3054108"/>
              <a:gd name="connsiteX15" fmla="*/ 1151283 w 2017369"/>
              <a:gd name="connsiteY15" fmla="*/ 1154479 h 3054108"/>
              <a:gd name="connsiteX16" fmla="*/ 1273203 w 2017369"/>
              <a:gd name="connsiteY16" fmla="*/ 1191055 h 3054108"/>
              <a:gd name="connsiteX17" fmla="*/ 1376835 w 2017369"/>
              <a:gd name="connsiteY17" fmla="*/ 1258111 h 3054108"/>
              <a:gd name="connsiteX18" fmla="*/ 1535331 w 2017369"/>
              <a:gd name="connsiteY18" fmla="*/ 1319071 h 3054108"/>
              <a:gd name="connsiteX19" fmla="*/ 1687731 w 2017369"/>
              <a:gd name="connsiteY19" fmla="*/ 1398319 h 3054108"/>
              <a:gd name="connsiteX20" fmla="*/ 1864515 w 2017369"/>
              <a:gd name="connsiteY20" fmla="*/ 1343455 h 3054108"/>
              <a:gd name="connsiteX21" fmla="*/ 1919379 w 2017369"/>
              <a:gd name="connsiteY21" fmla="*/ 1221535 h 3054108"/>
              <a:gd name="connsiteX22" fmla="*/ 1980339 w 2017369"/>
              <a:gd name="connsiteY22" fmla="*/ 1087423 h 3054108"/>
              <a:gd name="connsiteX23" fmla="*/ 1968147 w 2017369"/>
              <a:gd name="connsiteY23" fmla="*/ 928927 h 3054108"/>
              <a:gd name="connsiteX24" fmla="*/ 1901091 w 2017369"/>
              <a:gd name="connsiteY24" fmla="*/ 819199 h 3054108"/>
              <a:gd name="connsiteX25" fmla="*/ 1913283 w 2017369"/>
              <a:gd name="connsiteY25" fmla="*/ 746047 h 3054108"/>
              <a:gd name="connsiteX26" fmla="*/ 2016915 w 2017369"/>
              <a:gd name="connsiteY26" fmla="*/ 654607 h 3054108"/>
              <a:gd name="connsiteX27" fmla="*/ 1949859 w 2017369"/>
              <a:gd name="connsiteY27" fmla="*/ 569263 h 3054108"/>
              <a:gd name="connsiteX28" fmla="*/ 1919379 w 2017369"/>
              <a:gd name="connsiteY28" fmla="*/ 569263 h 3054108"/>
              <a:gd name="connsiteX29" fmla="*/ 1846227 w 2017369"/>
              <a:gd name="connsiteY29" fmla="*/ 514399 h 3054108"/>
              <a:gd name="connsiteX30" fmla="*/ 1742595 w 2017369"/>
              <a:gd name="connsiteY30" fmla="*/ 575359 h 3054108"/>
              <a:gd name="connsiteX31" fmla="*/ 1498755 w 2017369"/>
              <a:gd name="connsiteY31" fmla="*/ 563167 h 3054108"/>
              <a:gd name="connsiteX32" fmla="*/ 1285395 w 2017369"/>
              <a:gd name="connsiteY32" fmla="*/ 599743 h 3054108"/>
              <a:gd name="connsiteX33" fmla="*/ 1224435 w 2017369"/>
              <a:gd name="connsiteY33" fmla="*/ 672895 h 3054108"/>
              <a:gd name="connsiteX34" fmla="*/ 1181763 w 2017369"/>
              <a:gd name="connsiteY34" fmla="*/ 605839 h 3054108"/>
              <a:gd name="connsiteX35" fmla="*/ 1126899 w 2017369"/>
              <a:gd name="connsiteY35" fmla="*/ 477823 h 3054108"/>
              <a:gd name="connsiteX36" fmla="*/ 1139091 w 2017369"/>
              <a:gd name="connsiteY36" fmla="*/ 368095 h 3054108"/>
              <a:gd name="connsiteX37" fmla="*/ 1206147 w 2017369"/>
              <a:gd name="connsiteY37" fmla="*/ 173023 h 3054108"/>
              <a:gd name="connsiteX38" fmla="*/ 1279299 w 2017369"/>
              <a:gd name="connsiteY38" fmla="*/ 32815 h 3054108"/>
              <a:gd name="connsiteX39" fmla="*/ 1212243 w 2017369"/>
              <a:gd name="connsiteY39" fmla="*/ 8431 h 3054108"/>
              <a:gd name="connsiteX40" fmla="*/ 980595 w 2017369"/>
              <a:gd name="connsiteY40" fmla="*/ 148639 h 3054108"/>
              <a:gd name="connsiteX41" fmla="*/ 889155 w 2017369"/>
              <a:gd name="connsiteY41" fmla="*/ 301039 h 3054108"/>
              <a:gd name="connsiteX42" fmla="*/ 773331 w 2017369"/>
              <a:gd name="connsiteY42" fmla="*/ 319327 h 3054108"/>
              <a:gd name="connsiteX43" fmla="*/ 681891 w 2017369"/>
              <a:gd name="connsiteY43" fmla="*/ 258367 h 3054108"/>
              <a:gd name="connsiteX44" fmla="*/ 590451 w 2017369"/>
              <a:gd name="connsiteY44" fmla="*/ 307135 h 3054108"/>
              <a:gd name="connsiteX45" fmla="*/ 474627 w 2017369"/>
              <a:gd name="connsiteY45" fmla="*/ 215695 h 3054108"/>
              <a:gd name="connsiteX46" fmla="*/ 389283 w 2017369"/>
              <a:gd name="connsiteY46" fmla="*/ 136447 h 3054108"/>
              <a:gd name="connsiteX47" fmla="*/ 236883 w 2017369"/>
              <a:gd name="connsiteY47" fmla="*/ 154735 h 3054108"/>
              <a:gd name="connsiteX48" fmla="*/ 121059 w 2017369"/>
              <a:gd name="connsiteY48" fmla="*/ 227887 h 3054108"/>
              <a:gd name="connsiteX49" fmla="*/ 17427 w 2017369"/>
              <a:gd name="connsiteY49" fmla="*/ 197407 h 3054108"/>
              <a:gd name="connsiteX50" fmla="*/ 84483 w 2017369"/>
              <a:gd name="connsiteY50" fmla="*/ 410767 h 3054108"/>
              <a:gd name="connsiteX51" fmla="*/ 169827 w 2017369"/>
              <a:gd name="connsiteY51" fmla="*/ 544879 h 3054108"/>
              <a:gd name="connsiteX52" fmla="*/ 230787 w 2017369"/>
              <a:gd name="connsiteY52" fmla="*/ 587551 h 3054108"/>
              <a:gd name="connsiteX53" fmla="*/ 303939 w 2017369"/>
              <a:gd name="connsiteY53" fmla="*/ 697279 h 3054108"/>
              <a:gd name="connsiteX54" fmla="*/ 291747 w 2017369"/>
              <a:gd name="connsiteY54" fmla="*/ 855775 h 3054108"/>
              <a:gd name="connsiteX55" fmla="*/ 182019 w 2017369"/>
              <a:gd name="connsiteY55" fmla="*/ 1008175 h 3054108"/>
              <a:gd name="connsiteX56" fmla="*/ 47907 w 2017369"/>
              <a:gd name="connsiteY56" fmla="*/ 1117903 h 3054108"/>
              <a:gd name="connsiteX57" fmla="*/ 17427 w 2017369"/>
              <a:gd name="connsiteY57" fmla="*/ 1166671 h 3054108"/>
              <a:gd name="connsiteX58" fmla="*/ 303939 w 2017369"/>
              <a:gd name="connsiteY58" fmla="*/ 1105711 h 3054108"/>
              <a:gd name="connsiteX59" fmla="*/ 139347 w 2017369"/>
              <a:gd name="connsiteY59" fmla="*/ 1319071 h 3054108"/>
              <a:gd name="connsiteX60" fmla="*/ 102771 w 2017369"/>
              <a:gd name="connsiteY60" fmla="*/ 1495855 h 3054108"/>
              <a:gd name="connsiteX61" fmla="*/ 90579 w 2017369"/>
              <a:gd name="connsiteY61" fmla="*/ 1642159 h 3054108"/>
              <a:gd name="connsiteX62" fmla="*/ 139347 w 2017369"/>
              <a:gd name="connsiteY62" fmla="*/ 1733599 h 3054108"/>
              <a:gd name="connsiteX63" fmla="*/ 139347 w 2017369"/>
              <a:gd name="connsiteY63" fmla="*/ 1818943 h 3054108"/>
              <a:gd name="connsiteX64" fmla="*/ 188115 w 2017369"/>
              <a:gd name="connsiteY64" fmla="*/ 1904287 h 3054108"/>
              <a:gd name="connsiteX65" fmla="*/ 273459 w 2017369"/>
              <a:gd name="connsiteY65" fmla="*/ 1959151 h 3054108"/>
              <a:gd name="connsiteX66" fmla="*/ 139347 w 2017369"/>
              <a:gd name="connsiteY66" fmla="*/ 2050591 h 3054108"/>
              <a:gd name="connsiteX67" fmla="*/ 102771 w 2017369"/>
              <a:gd name="connsiteY67" fmla="*/ 2196895 h 3054108"/>
              <a:gd name="connsiteX68" fmla="*/ 212499 w 2017369"/>
              <a:gd name="connsiteY68" fmla="*/ 2221279 h 3054108"/>
              <a:gd name="connsiteX69" fmla="*/ 242979 w 2017369"/>
              <a:gd name="connsiteY69" fmla="*/ 2300527 h 3054108"/>
              <a:gd name="connsiteX70" fmla="*/ 169827 w 2017369"/>
              <a:gd name="connsiteY70" fmla="*/ 2398063 h 3054108"/>
              <a:gd name="connsiteX71" fmla="*/ 200307 w 2017369"/>
              <a:gd name="connsiteY71" fmla="*/ 2507791 h 3054108"/>
              <a:gd name="connsiteX72" fmla="*/ 151539 w 2017369"/>
              <a:gd name="connsiteY72" fmla="*/ 2568751 h 3054108"/>
              <a:gd name="connsiteX73" fmla="*/ 72291 w 2017369"/>
              <a:gd name="connsiteY73" fmla="*/ 2599231 h 3054108"/>
              <a:gd name="connsiteX74" fmla="*/ 47907 w 2017369"/>
              <a:gd name="connsiteY74" fmla="*/ 2794303 h 3054108"/>
              <a:gd name="connsiteX75" fmla="*/ 145443 w 2017369"/>
              <a:gd name="connsiteY75" fmla="*/ 2794303 h 3054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2017369" h="3054108">
                <a:moveTo>
                  <a:pt x="145443" y="2794303"/>
                </a:moveTo>
                <a:cubicBezTo>
                  <a:pt x="194211" y="2833927"/>
                  <a:pt x="219611" y="2997503"/>
                  <a:pt x="340515" y="3032047"/>
                </a:cubicBezTo>
                <a:cubicBezTo>
                  <a:pt x="461419" y="3066591"/>
                  <a:pt x="769267" y="3063543"/>
                  <a:pt x="870867" y="3001567"/>
                </a:cubicBezTo>
                <a:cubicBezTo>
                  <a:pt x="972467" y="2939591"/>
                  <a:pt x="945035" y="2765855"/>
                  <a:pt x="950115" y="2660191"/>
                </a:cubicBezTo>
                <a:cubicBezTo>
                  <a:pt x="955195" y="2554527"/>
                  <a:pt x="910491" y="2443783"/>
                  <a:pt x="901347" y="2367583"/>
                </a:cubicBezTo>
                <a:cubicBezTo>
                  <a:pt x="892203" y="2291383"/>
                  <a:pt x="890171" y="2262935"/>
                  <a:pt x="895251" y="2202991"/>
                </a:cubicBezTo>
                <a:cubicBezTo>
                  <a:pt x="900331" y="2143047"/>
                  <a:pt x="947067" y="2063799"/>
                  <a:pt x="931827" y="2007919"/>
                </a:cubicBezTo>
                <a:cubicBezTo>
                  <a:pt x="916587" y="1952039"/>
                  <a:pt x="827179" y="1906319"/>
                  <a:pt x="803811" y="1867711"/>
                </a:cubicBezTo>
                <a:cubicBezTo>
                  <a:pt x="780443" y="1829103"/>
                  <a:pt x="776379" y="1800655"/>
                  <a:pt x="791619" y="1776271"/>
                </a:cubicBezTo>
                <a:cubicBezTo>
                  <a:pt x="806859" y="1751887"/>
                  <a:pt x="884075" y="1757983"/>
                  <a:pt x="895251" y="1721407"/>
                </a:cubicBezTo>
                <a:cubicBezTo>
                  <a:pt x="906427" y="1684831"/>
                  <a:pt x="862739" y="1598471"/>
                  <a:pt x="858675" y="1556815"/>
                </a:cubicBezTo>
                <a:cubicBezTo>
                  <a:pt x="854611" y="1515159"/>
                  <a:pt x="854611" y="1490775"/>
                  <a:pt x="870867" y="1471471"/>
                </a:cubicBezTo>
                <a:cubicBezTo>
                  <a:pt x="887123" y="1452167"/>
                  <a:pt x="921667" y="1469439"/>
                  <a:pt x="956211" y="1440991"/>
                </a:cubicBezTo>
                <a:cubicBezTo>
                  <a:pt x="990755" y="1412543"/>
                  <a:pt x="1054763" y="1340407"/>
                  <a:pt x="1078131" y="1300783"/>
                </a:cubicBezTo>
                <a:cubicBezTo>
                  <a:pt x="1101499" y="1261159"/>
                  <a:pt x="1084227" y="1227631"/>
                  <a:pt x="1096419" y="1203247"/>
                </a:cubicBezTo>
                <a:cubicBezTo>
                  <a:pt x="1108611" y="1178863"/>
                  <a:pt x="1121819" y="1156511"/>
                  <a:pt x="1151283" y="1154479"/>
                </a:cubicBezTo>
                <a:cubicBezTo>
                  <a:pt x="1180747" y="1152447"/>
                  <a:pt x="1235611" y="1173783"/>
                  <a:pt x="1273203" y="1191055"/>
                </a:cubicBezTo>
                <a:cubicBezTo>
                  <a:pt x="1310795" y="1208327"/>
                  <a:pt x="1333147" y="1236775"/>
                  <a:pt x="1376835" y="1258111"/>
                </a:cubicBezTo>
                <a:cubicBezTo>
                  <a:pt x="1420523" y="1279447"/>
                  <a:pt x="1483515" y="1295703"/>
                  <a:pt x="1535331" y="1319071"/>
                </a:cubicBezTo>
                <a:cubicBezTo>
                  <a:pt x="1587147" y="1342439"/>
                  <a:pt x="1632867" y="1394255"/>
                  <a:pt x="1687731" y="1398319"/>
                </a:cubicBezTo>
                <a:cubicBezTo>
                  <a:pt x="1742595" y="1402383"/>
                  <a:pt x="1825907" y="1372919"/>
                  <a:pt x="1864515" y="1343455"/>
                </a:cubicBezTo>
                <a:cubicBezTo>
                  <a:pt x="1903123" y="1313991"/>
                  <a:pt x="1900075" y="1264207"/>
                  <a:pt x="1919379" y="1221535"/>
                </a:cubicBezTo>
                <a:cubicBezTo>
                  <a:pt x="1938683" y="1178863"/>
                  <a:pt x="1972211" y="1136191"/>
                  <a:pt x="1980339" y="1087423"/>
                </a:cubicBezTo>
                <a:cubicBezTo>
                  <a:pt x="1988467" y="1038655"/>
                  <a:pt x="1981355" y="973631"/>
                  <a:pt x="1968147" y="928927"/>
                </a:cubicBezTo>
                <a:cubicBezTo>
                  <a:pt x="1954939" y="884223"/>
                  <a:pt x="1910235" y="849679"/>
                  <a:pt x="1901091" y="819199"/>
                </a:cubicBezTo>
                <a:cubicBezTo>
                  <a:pt x="1891947" y="788719"/>
                  <a:pt x="1893979" y="773479"/>
                  <a:pt x="1913283" y="746047"/>
                </a:cubicBezTo>
                <a:cubicBezTo>
                  <a:pt x="1932587" y="718615"/>
                  <a:pt x="2010819" y="684071"/>
                  <a:pt x="2016915" y="654607"/>
                </a:cubicBezTo>
                <a:cubicBezTo>
                  <a:pt x="2023011" y="625143"/>
                  <a:pt x="1966115" y="583487"/>
                  <a:pt x="1949859" y="569263"/>
                </a:cubicBezTo>
                <a:cubicBezTo>
                  <a:pt x="1933603" y="555039"/>
                  <a:pt x="1936651" y="578407"/>
                  <a:pt x="1919379" y="569263"/>
                </a:cubicBezTo>
                <a:cubicBezTo>
                  <a:pt x="1902107" y="560119"/>
                  <a:pt x="1875691" y="513383"/>
                  <a:pt x="1846227" y="514399"/>
                </a:cubicBezTo>
                <a:cubicBezTo>
                  <a:pt x="1816763" y="515415"/>
                  <a:pt x="1800507" y="567231"/>
                  <a:pt x="1742595" y="575359"/>
                </a:cubicBezTo>
                <a:cubicBezTo>
                  <a:pt x="1684683" y="583487"/>
                  <a:pt x="1574955" y="559103"/>
                  <a:pt x="1498755" y="563167"/>
                </a:cubicBezTo>
                <a:cubicBezTo>
                  <a:pt x="1422555" y="567231"/>
                  <a:pt x="1331115" y="581455"/>
                  <a:pt x="1285395" y="599743"/>
                </a:cubicBezTo>
                <a:cubicBezTo>
                  <a:pt x="1239675" y="618031"/>
                  <a:pt x="1241707" y="671879"/>
                  <a:pt x="1224435" y="672895"/>
                </a:cubicBezTo>
                <a:cubicBezTo>
                  <a:pt x="1207163" y="673911"/>
                  <a:pt x="1198019" y="638351"/>
                  <a:pt x="1181763" y="605839"/>
                </a:cubicBezTo>
                <a:cubicBezTo>
                  <a:pt x="1165507" y="573327"/>
                  <a:pt x="1134011" y="517447"/>
                  <a:pt x="1126899" y="477823"/>
                </a:cubicBezTo>
                <a:cubicBezTo>
                  <a:pt x="1119787" y="438199"/>
                  <a:pt x="1125883" y="418895"/>
                  <a:pt x="1139091" y="368095"/>
                </a:cubicBezTo>
                <a:cubicBezTo>
                  <a:pt x="1152299" y="317295"/>
                  <a:pt x="1182779" y="228903"/>
                  <a:pt x="1206147" y="173023"/>
                </a:cubicBezTo>
                <a:cubicBezTo>
                  <a:pt x="1229515" y="117143"/>
                  <a:pt x="1278283" y="60247"/>
                  <a:pt x="1279299" y="32815"/>
                </a:cubicBezTo>
                <a:cubicBezTo>
                  <a:pt x="1280315" y="5383"/>
                  <a:pt x="1262027" y="-10873"/>
                  <a:pt x="1212243" y="8431"/>
                </a:cubicBezTo>
                <a:cubicBezTo>
                  <a:pt x="1162459" y="27735"/>
                  <a:pt x="1034443" y="99871"/>
                  <a:pt x="980595" y="148639"/>
                </a:cubicBezTo>
                <a:cubicBezTo>
                  <a:pt x="926747" y="197407"/>
                  <a:pt x="923699" y="272591"/>
                  <a:pt x="889155" y="301039"/>
                </a:cubicBezTo>
                <a:cubicBezTo>
                  <a:pt x="854611" y="329487"/>
                  <a:pt x="807875" y="326439"/>
                  <a:pt x="773331" y="319327"/>
                </a:cubicBezTo>
                <a:cubicBezTo>
                  <a:pt x="738787" y="312215"/>
                  <a:pt x="712371" y="260399"/>
                  <a:pt x="681891" y="258367"/>
                </a:cubicBezTo>
                <a:cubicBezTo>
                  <a:pt x="651411" y="256335"/>
                  <a:pt x="624995" y="314247"/>
                  <a:pt x="590451" y="307135"/>
                </a:cubicBezTo>
                <a:cubicBezTo>
                  <a:pt x="555907" y="300023"/>
                  <a:pt x="508155" y="244143"/>
                  <a:pt x="474627" y="215695"/>
                </a:cubicBezTo>
                <a:cubicBezTo>
                  <a:pt x="441099" y="187247"/>
                  <a:pt x="428907" y="146607"/>
                  <a:pt x="389283" y="136447"/>
                </a:cubicBezTo>
                <a:cubicBezTo>
                  <a:pt x="349659" y="126287"/>
                  <a:pt x="281587" y="139495"/>
                  <a:pt x="236883" y="154735"/>
                </a:cubicBezTo>
                <a:cubicBezTo>
                  <a:pt x="192179" y="169975"/>
                  <a:pt x="157635" y="220775"/>
                  <a:pt x="121059" y="227887"/>
                </a:cubicBezTo>
                <a:cubicBezTo>
                  <a:pt x="84483" y="234999"/>
                  <a:pt x="23523" y="166927"/>
                  <a:pt x="17427" y="197407"/>
                </a:cubicBezTo>
                <a:cubicBezTo>
                  <a:pt x="11331" y="227887"/>
                  <a:pt x="59083" y="352855"/>
                  <a:pt x="84483" y="410767"/>
                </a:cubicBezTo>
                <a:cubicBezTo>
                  <a:pt x="109883" y="468679"/>
                  <a:pt x="145443" y="515415"/>
                  <a:pt x="169827" y="544879"/>
                </a:cubicBezTo>
                <a:cubicBezTo>
                  <a:pt x="194211" y="574343"/>
                  <a:pt x="208435" y="562151"/>
                  <a:pt x="230787" y="587551"/>
                </a:cubicBezTo>
                <a:cubicBezTo>
                  <a:pt x="253139" y="612951"/>
                  <a:pt x="293779" y="652575"/>
                  <a:pt x="303939" y="697279"/>
                </a:cubicBezTo>
                <a:cubicBezTo>
                  <a:pt x="314099" y="741983"/>
                  <a:pt x="312067" y="803959"/>
                  <a:pt x="291747" y="855775"/>
                </a:cubicBezTo>
                <a:cubicBezTo>
                  <a:pt x="271427" y="907591"/>
                  <a:pt x="222659" y="964487"/>
                  <a:pt x="182019" y="1008175"/>
                </a:cubicBezTo>
                <a:cubicBezTo>
                  <a:pt x="141379" y="1051863"/>
                  <a:pt x="75339" y="1091487"/>
                  <a:pt x="47907" y="1117903"/>
                </a:cubicBezTo>
                <a:cubicBezTo>
                  <a:pt x="20475" y="1144319"/>
                  <a:pt x="-25245" y="1168703"/>
                  <a:pt x="17427" y="1166671"/>
                </a:cubicBezTo>
                <a:cubicBezTo>
                  <a:pt x="60099" y="1164639"/>
                  <a:pt x="283619" y="1080311"/>
                  <a:pt x="303939" y="1105711"/>
                </a:cubicBezTo>
                <a:cubicBezTo>
                  <a:pt x="324259" y="1131111"/>
                  <a:pt x="172875" y="1254047"/>
                  <a:pt x="139347" y="1319071"/>
                </a:cubicBezTo>
                <a:cubicBezTo>
                  <a:pt x="105819" y="1384095"/>
                  <a:pt x="110899" y="1442007"/>
                  <a:pt x="102771" y="1495855"/>
                </a:cubicBezTo>
                <a:cubicBezTo>
                  <a:pt x="94643" y="1549703"/>
                  <a:pt x="84483" y="1602535"/>
                  <a:pt x="90579" y="1642159"/>
                </a:cubicBezTo>
                <a:cubicBezTo>
                  <a:pt x="96675" y="1681783"/>
                  <a:pt x="131219" y="1704135"/>
                  <a:pt x="139347" y="1733599"/>
                </a:cubicBezTo>
                <a:cubicBezTo>
                  <a:pt x="147475" y="1763063"/>
                  <a:pt x="131219" y="1790495"/>
                  <a:pt x="139347" y="1818943"/>
                </a:cubicBezTo>
                <a:cubicBezTo>
                  <a:pt x="147475" y="1847391"/>
                  <a:pt x="165763" y="1880919"/>
                  <a:pt x="188115" y="1904287"/>
                </a:cubicBezTo>
                <a:cubicBezTo>
                  <a:pt x="210467" y="1927655"/>
                  <a:pt x="281587" y="1934767"/>
                  <a:pt x="273459" y="1959151"/>
                </a:cubicBezTo>
                <a:cubicBezTo>
                  <a:pt x="265331" y="1983535"/>
                  <a:pt x="167795" y="2010967"/>
                  <a:pt x="139347" y="2050591"/>
                </a:cubicBezTo>
                <a:cubicBezTo>
                  <a:pt x="110899" y="2090215"/>
                  <a:pt x="90579" y="2168447"/>
                  <a:pt x="102771" y="2196895"/>
                </a:cubicBezTo>
                <a:cubicBezTo>
                  <a:pt x="114963" y="2225343"/>
                  <a:pt x="189131" y="2204007"/>
                  <a:pt x="212499" y="2221279"/>
                </a:cubicBezTo>
                <a:cubicBezTo>
                  <a:pt x="235867" y="2238551"/>
                  <a:pt x="250091" y="2271063"/>
                  <a:pt x="242979" y="2300527"/>
                </a:cubicBezTo>
                <a:cubicBezTo>
                  <a:pt x="235867" y="2329991"/>
                  <a:pt x="176939" y="2363519"/>
                  <a:pt x="169827" y="2398063"/>
                </a:cubicBezTo>
                <a:cubicBezTo>
                  <a:pt x="162715" y="2432607"/>
                  <a:pt x="203355" y="2479343"/>
                  <a:pt x="200307" y="2507791"/>
                </a:cubicBezTo>
                <a:cubicBezTo>
                  <a:pt x="197259" y="2536239"/>
                  <a:pt x="172875" y="2553511"/>
                  <a:pt x="151539" y="2568751"/>
                </a:cubicBezTo>
                <a:cubicBezTo>
                  <a:pt x="130203" y="2583991"/>
                  <a:pt x="89563" y="2561639"/>
                  <a:pt x="72291" y="2599231"/>
                </a:cubicBezTo>
                <a:cubicBezTo>
                  <a:pt x="55019" y="2636823"/>
                  <a:pt x="34699" y="2757727"/>
                  <a:pt x="47907" y="2794303"/>
                </a:cubicBezTo>
                <a:cubicBezTo>
                  <a:pt x="61115" y="2830879"/>
                  <a:pt x="96675" y="2754679"/>
                  <a:pt x="145443" y="2794303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sng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64" name="Freeform: Shape 163">
            <a:extLst>
              <a:ext uri="{FF2B5EF4-FFF2-40B4-BE49-F238E27FC236}">
                <a16:creationId xmlns:a16="http://schemas.microsoft.com/office/drawing/2014/main" id="{2659B4B8-7DEF-4EF9-AE7C-3FD5B5111BC9}"/>
              </a:ext>
            </a:extLst>
          </p:cNvPr>
          <p:cNvSpPr/>
          <p:nvPr/>
        </p:nvSpPr>
        <p:spPr>
          <a:xfrm>
            <a:off x="7726123" y="4699994"/>
            <a:ext cx="256556" cy="278361"/>
          </a:xfrm>
          <a:custGeom>
            <a:avLst/>
            <a:gdLst>
              <a:gd name="connsiteX0" fmla="*/ 143927 w 1559251"/>
              <a:gd name="connsiteY0" fmla="*/ 1701590 h 1705860"/>
              <a:gd name="connsiteX1" fmla="*/ 399959 w 1559251"/>
              <a:gd name="connsiteY1" fmla="*/ 1555286 h 1705860"/>
              <a:gd name="connsiteX2" fmla="*/ 503591 w 1559251"/>
              <a:gd name="connsiteY2" fmla="*/ 1433366 h 1705860"/>
              <a:gd name="connsiteX3" fmla="*/ 643799 w 1559251"/>
              <a:gd name="connsiteY3" fmla="*/ 1408982 h 1705860"/>
              <a:gd name="connsiteX4" fmla="*/ 893735 w 1559251"/>
              <a:gd name="connsiteY4" fmla="*/ 1043222 h 1705860"/>
              <a:gd name="connsiteX5" fmla="*/ 1198535 w 1559251"/>
              <a:gd name="connsiteY5" fmla="*/ 884726 h 1705860"/>
              <a:gd name="connsiteX6" fmla="*/ 1411895 w 1559251"/>
              <a:gd name="connsiteY6" fmla="*/ 896918 h 1705860"/>
              <a:gd name="connsiteX7" fmla="*/ 1558199 w 1559251"/>
              <a:gd name="connsiteY7" fmla="*/ 774998 h 1705860"/>
              <a:gd name="connsiteX8" fmla="*/ 1472855 w 1559251"/>
              <a:gd name="connsiteY8" fmla="*/ 646982 h 1705860"/>
              <a:gd name="connsiteX9" fmla="*/ 1381415 w 1559251"/>
              <a:gd name="connsiteY9" fmla="*/ 592118 h 1705860"/>
              <a:gd name="connsiteX10" fmla="*/ 1357031 w 1559251"/>
              <a:gd name="connsiteY10" fmla="*/ 458006 h 1705860"/>
              <a:gd name="connsiteX11" fmla="*/ 1302167 w 1559251"/>
              <a:gd name="connsiteY11" fmla="*/ 317798 h 1705860"/>
              <a:gd name="connsiteX12" fmla="*/ 1253399 w 1559251"/>
              <a:gd name="connsiteY12" fmla="*/ 256838 h 1705860"/>
              <a:gd name="connsiteX13" fmla="*/ 1241207 w 1559251"/>
              <a:gd name="connsiteY13" fmla="*/ 159302 h 1705860"/>
              <a:gd name="connsiteX14" fmla="*/ 1204631 w 1559251"/>
              <a:gd name="connsiteY14" fmla="*/ 134918 h 1705860"/>
              <a:gd name="connsiteX15" fmla="*/ 1088807 w 1559251"/>
              <a:gd name="connsiteY15" fmla="*/ 86150 h 1705860"/>
              <a:gd name="connsiteX16" fmla="*/ 1027847 w 1559251"/>
              <a:gd name="connsiteY16" fmla="*/ 208070 h 1705860"/>
              <a:gd name="connsiteX17" fmla="*/ 832775 w 1559251"/>
              <a:gd name="connsiteY17" fmla="*/ 238550 h 1705860"/>
              <a:gd name="connsiteX18" fmla="*/ 649895 w 1559251"/>
              <a:gd name="connsiteY18" fmla="*/ 165398 h 1705860"/>
              <a:gd name="connsiteX19" fmla="*/ 467015 w 1559251"/>
              <a:gd name="connsiteY19" fmla="*/ 92246 h 1705860"/>
              <a:gd name="connsiteX20" fmla="*/ 338999 w 1559251"/>
              <a:gd name="connsiteY20" fmla="*/ 806 h 1705860"/>
              <a:gd name="connsiteX21" fmla="*/ 296327 w 1559251"/>
              <a:gd name="connsiteY21" fmla="*/ 55670 h 1705860"/>
              <a:gd name="connsiteX22" fmla="*/ 278039 w 1559251"/>
              <a:gd name="connsiteY22" fmla="*/ 189782 h 1705860"/>
              <a:gd name="connsiteX23" fmla="*/ 186599 w 1559251"/>
              <a:gd name="connsiteY23" fmla="*/ 281222 h 1705860"/>
              <a:gd name="connsiteX24" fmla="*/ 76871 w 1559251"/>
              <a:gd name="connsiteY24" fmla="*/ 299510 h 1705860"/>
              <a:gd name="connsiteX25" fmla="*/ 46391 w 1559251"/>
              <a:gd name="connsiteY25" fmla="*/ 403142 h 1705860"/>
              <a:gd name="connsiteX26" fmla="*/ 95159 w 1559251"/>
              <a:gd name="connsiteY26" fmla="*/ 506774 h 1705860"/>
              <a:gd name="connsiteX27" fmla="*/ 101255 w 1559251"/>
              <a:gd name="connsiteY27" fmla="*/ 616502 h 1705860"/>
              <a:gd name="connsiteX28" fmla="*/ 3719 w 1559251"/>
              <a:gd name="connsiteY28" fmla="*/ 592118 h 1705860"/>
              <a:gd name="connsiteX29" fmla="*/ 28103 w 1559251"/>
              <a:gd name="connsiteY29" fmla="*/ 695750 h 1705860"/>
              <a:gd name="connsiteX30" fmla="*/ 101255 w 1559251"/>
              <a:gd name="connsiteY30" fmla="*/ 756710 h 1705860"/>
              <a:gd name="connsiteX31" fmla="*/ 107351 w 1559251"/>
              <a:gd name="connsiteY31" fmla="*/ 951782 h 1705860"/>
              <a:gd name="connsiteX32" fmla="*/ 107351 w 1559251"/>
              <a:gd name="connsiteY32" fmla="*/ 1122470 h 1705860"/>
              <a:gd name="connsiteX33" fmla="*/ 137831 w 1559251"/>
              <a:gd name="connsiteY33" fmla="*/ 1378502 h 1705860"/>
              <a:gd name="connsiteX34" fmla="*/ 143927 w 1559251"/>
              <a:gd name="connsiteY34" fmla="*/ 1701590 h 1705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559251" h="1705860">
                <a:moveTo>
                  <a:pt x="143927" y="1701590"/>
                </a:moveTo>
                <a:cubicBezTo>
                  <a:pt x="187615" y="1731054"/>
                  <a:pt x="340015" y="1599990"/>
                  <a:pt x="399959" y="1555286"/>
                </a:cubicBezTo>
                <a:cubicBezTo>
                  <a:pt x="459903" y="1510582"/>
                  <a:pt x="462951" y="1457750"/>
                  <a:pt x="503591" y="1433366"/>
                </a:cubicBezTo>
                <a:cubicBezTo>
                  <a:pt x="544231" y="1408982"/>
                  <a:pt x="578775" y="1474006"/>
                  <a:pt x="643799" y="1408982"/>
                </a:cubicBezTo>
                <a:cubicBezTo>
                  <a:pt x="708823" y="1343958"/>
                  <a:pt x="801279" y="1130598"/>
                  <a:pt x="893735" y="1043222"/>
                </a:cubicBezTo>
                <a:cubicBezTo>
                  <a:pt x="986191" y="955846"/>
                  <a:pt x="1112175" y="909110"/>
                  <a:pt x="1198535" y="884726"/>
                </a:cubicBezTo>
                <a:cubicBezTo>
                  <a:pt x="1284895" y="860342"/>
                  <a:pt x="1351951" y="915206"/>
                  <a:pt x="1411895" y="896918"/>
                </a:cubicBezTo>
                <a:cubicBezTo>
                  <a:pt x="1471839" y="878630"/>
                  <a:pt x="1548039" y="816654"/>
                  <a:pt x="1558199" y="774998"/>
                </a:cubicBezTo>
                <a:cubicBezTo>
                  <a:pt x="1568359" y="733342"/>
                  <a:pt x="1502319" y="677462"/>
                  <a:pt x="1472855" y="646982"/>
                </a:cubicBezTo>
                <a:cubicBezTo>
                  <a:pt x="1443391" y="616502"/>
                  <a:pt x="1400719" y="623614"/>
                  <a:pt x="1381415" y="592118"/>
                </a:cubicBezTo>
                <a:cubicBezTo>
                  <a:pt x="1362111" y="560622"/>
                  <a:pt x="1370239" y="503726"/>
                  <a:pt x="1357031" y="458006"/>
                </a:cubicBezTo>
                <a:cubicBezTo>
                  <a:pt x="1343823" y="412286"/>
                  <a:pt x="1319439" y="351326"/>
                  <a:pt x="1302167" y="317798"/>
                </a:cubicBezTo>
                <a:cubicBezTo>
                  <a:pt x="1284895" y="284270"/>
                  <a:pt x="1263559" y="283254"/>
                  <a:pt x="1253399" y="256838"/>
                </a:cubicBezTo>
                <a:cubicBezTo>
                  <a:pt x="1243239" y="230422"/>
                  <a:pt x="1249335" y="179622"/>
                  <a:pt x="1241207" y="159302"/>
                </a:cubicBezTo>
                <a:cubicBezTo>
                  <a:pt x="1233079" y="138982"/>
                  <a:pt x="1230031" y="147110"/>
                  <a:pt x="1204631" y="134918"/>
                </a:cubicBezTo>
                <a:cubicBezTo>
                  <a:pt x="1179231" y="122726"/>
                  <a:pt x="1118271" y="73958"/>
                  <a:pt x="1088807" y="86150"/>
                </a:cubicBezTo>
                <a:cubicBezTo>
                  <a:pt x="1059343" y="98342"/>
                  <a:pt x="1070519" y="182670"/>
                  <a:pt x="1027847" y="208070"/>
                </a:cubicBezTo>
                <a:cubicBezTo>
                  <a:pt x="985175" y="233470"/>
                  <a:pt x="895767" y="245662"/>
                  <a:pt x="832775" y="238550"/>
                </a:cubicBezTo>
                <a:cubicBezTo>
                  <a:pt x="769783" y="231438"/>
                  <a:pt x="649895" y="165398"/>
                  <a:pt x="649895" y="165398"/>
                </a:cubicBezTo>
                <a:cubicBezTo>
                  <a:pt x="588935" y="141014"/>
                  <a:pt x="518831" y="119678"/>
                  <a:pt x="467015" y="92246"/>
                </a:cubicBezTo>
                <a:cubicBezTo>
                  <a:pt x="415199" y="64814"/>
                  <a:pt x="367447" y="6902"/>
                  <a:pt x="338999" y="806"/>
                </a:cubicBezTo>
                <a:cubicBezTo>
                  <a:pt x="310551" y="-5290"/>
                  <a:pt x="306487" y="24174"/>
                  <a:pt x="296327" y="55670"/>
                </a:cubicBezTo>
                <a:cubicBezTo>
                  <a:pt x="286167" y="87166"/>
                  <a:pt x="296327" y="152190"/>
                  <a:pt x="278039" y="189782"/>
                </a:cubicBezTo>
                <a:cubicBezTo>
                  <a:pt x="259751" y="227374"/>
                  <a:pt x="220127" y="262934"/>
                  <a:pt x="186599" y="281222"/>
                </a:cubicBezTo>
                <a:cubicBezTo>
                  <a:pt x="153071" y="299510"/>
                  <a:pt x="100239" y="279190"/>
                  <a:pt x="76871" y="299510"/>
                </a:cubicBezTo>
                <a:cubicBezTo>
                  <a:pt x="53503" y="319830"/>
                  <a:pt x="43343" y="368598"/>
                  <a:pt x="46391" y="403142"/>
                </a:cubicBezTo>
                <a:cubicBezTo>
                  <a:pt x="49439" y="437686"/>
                  <a:pt x="86015" y="471214"/>
                  <a:pt x="95159" y="506774"/>
                </a:cubicBezTo>
                <a:cubicBezTo>
                  <a:pt x="104303" y="542334"/>
                  <a:pt x="116495" y="602278"/>
                  <a:pt x="101255" y="616502"/>
                </a:cubicBezTo>
                <a:cubicBezTo>
                  <a:pt x="86015" y="630726"/>
                  <a:pt x="15911" y="578910"/>
                  <a:pt x="3719" y="592118"/>
                </a:cubicBezTo>
                <a:cubicBezTo>
                  <a:pt x="-8473" y="605326"/>
                  <a:pt x="11847" y="668318"/>
                  <a:pt x="28103" y="695750"/>
                </a:cubicBezTo>
                <a:cubicBezTo>
                  <a:pt x="44359" y="723182"/>
                  <a:pt x="88047" y="714038"/>
                  <a:pt x="101255" y="756710"/>
                </a:cubicBezTo>
                <a:cubicBezTo>
                  <a:pt x="114463" y="799382"/>
                  <a:pt x="106335" y="890822"/>
                  <a:pt x="107351" y="951782"/>
                </a:cubicBezTo>
                <a:cubicBezTo>
                  <a:pt x="108367" y="1012742"/>
                  <a:pt x="102271" y="1051350"/>
                  <a:pt x="107351" y="1122470"/>
                </a:cubicBezTo>
                <a:cubicBezTo>
                  <a:pt x="112431" y="1193590"/>
                  <a:pt x="136815" y="1275886"/>
                  <a:pt x="137831" y="1378502"/>
                </a:cubicBezTo>
                <a:cubicBezTo>
                  <a:pt x="138847" y="1481118"/>
                  <a:pt x="100239" y="1672126"/>
                  <a:pt x="143927" y="1701590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sng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65" name="Freeform: Shape 164">
            <a:extLst>
              <a:ext uri="{FF2B5EF4-FFF2-40B4-BE49-F238E27FC236}">
                <a16:creationId xmlns:a16="http://schemas.microsoft.com/office/drawing/2014/main" id="{97EDA327-55C4-45C9-8360-FE6BE95DFA45}"/>
              </a:ext>
            </a:extLst>
          </p:cNvPr>
          <p:cNvSpPr/>
          <p:nvPr/>
        </p:nvSpPr>
        <p:spPr>
          <a:xfrm>
            <a:off x="7778520" y="4314323"/>
            <a:ext cx="678042" cy="499770"/>
          </a:xfrm>
          <a:custGeom>
            <a:avLst/>
            <a:gdLst>
              <a:gd name="connsiteX0" fmla="*/ 18175 w 3676056"/>
              <a:gd name="connsiteY0" fmla="*/ 1268947 h 2732111"/>
              <a:gd name="connsiteX1" fmla="*/ 18175 w 3676056"/>
              <a:gd name="connsiteY1" fmla="*/ 1116547 h 2732111"/>
              <a:gd name="connsiteX2" fmla="*/ 143905 w 3676056"/>
              <a:gd name="connsiteY2" fmla="*/ 796507 h 2732111"/>
              <a:gd name="connsiteX3" fmla="*/ 342025 w 3676056"/>
              <a:gd name="connsiteY3" fmla="*/ 754597 h 2732111"/>
              <a:gd name="connsiteX4" fmla="*/ 563005 w 3676056"/>
              <a:gd name="connsiteY4" fmla="*/ 613627 h 2732111"/>
              <a:gd name="connsiteX5" fmla="*/ 978295 w 3676056"/>
              <a:gd name="connsiteY5" fmla="*/ 274537 h 2732111"/>
              <a:gd name="connsiteX6" fmla="*/ 1176415 w 3676056"/>
              <a:gd name="connsiteY6" fmla="*/ 15457 h 2732111"/>
              <a:gd name="connsiteX7" fmla="*/ 1507885 w 3676056"/>
              <a:gd name="connsiteY7" fmla="*/ 76417 h 2732111"/>
              <a:gd name="connsiteX8" fmla="*/ 1881265 w 3676056"/>
              <a:gd name="connsiteY8" fmla="*/ 461227 h 2732111"/>
              <a:gd name="connsiteX9" fmla="*/ 1934605 w 3676056"/>
              <a:gd name="connsiteY9" fmla="*/ 663157 h 2732111"/>
              <a:gd name="connsiteX10" fmla="*/ 2231785 w 3676056"/>
              <a:gd name="connsiteY10" fmla="*/ 971767 h 2732111"/>
              <a:gd name="connsiteX11" fmla="*/ 2574685 w 3676056"/>
              <a:gd name="connsiteY11" fmla="*/ 1196557 h 2732111"/>
              <a:gd name="connsiteX12" fmla="*/ 2563255 w 3676056"/>
              <a:gd name="connsiteY12" fmla="*/ 1478497 h 2732111"/>
              <a:gd name="connsiteX13" fmla="*/ 2887105 w 3676056"/>
              <a:gd name="connsiteY13" fmla="*/ 1600417 h 2732111"/>
              <a:gd name="connsiteX14" fmla="*/ 3134755 w 3676056"/>
              <a:gd name="connsiteY14" fmla="*/ 1558507 h 2732111"/>
              <a:gd name="connsiteX15" fmla="*/ 3359545 w 3676056"/>
              <a:gd name="connsiteY15" fmla="*/ 1581367 h 2732111"/>
              <a:gd name="connsiteX16" fmla="*/ 3550045 w 3676056"/>
              <a:gd name="connsiteY16" fmla="*/ 1806157 h 2732111"/>
              <a:gd name="connsiteX17" fmla="*/ 3580525 w 3676056"/>
              <a:gd name="connsiteY17" fmla="*/ 2027137 h 2732111"/>
              <a:gd name="connsiteX18" fmla="*/ 3671965 w 3676056"/>
              <a:gd name="connsiteY18" fmla="*/ 2145247 h 2732111"/>
              <a:gd name="connsiteX19" fmla="*/ 3641485 w 3676056"/>
              <a:gd name="connsiteY19" fmla="*/ 2263357 h 2732111"/>
              <a:gd name="connsiteX20" fmla="*/ 3477655 w 3676056"/>
              <a:gd name="connsiteY20" fmla="*/ 2347177 h 2732111"/>
              <a:gd name="connsiteX21" fmla="*/ 3325255 w 3676056"/>
              <a:gd name="connsiteY21" fmla="*/ 2270977 h 2732111"/>
              <a:gd name="connsiteX22" fmla="*/ 3161425 w 3676056"/>
              <a:gd name="connsiteY22" fmla="*/ 2190967 h 2732111"/>
              <a:gd name="connsiteX23" fmla="*/ 2883295 w 3676056"/>
              <a:gd name="connsiteY23" fmla="*/ 2248117 h 2732111"/>
              <a:gd name="connsiteX24" fmla="*/ 2643265 w 3676056"/>
              <a:gd name="connsiteY24" fmla="*/ 2373847 h 2732111"/>
              <a:gd name="connsiteX25" fmla="*/ 2368945 w 3676056"/>
              <a:gd name="connsiteY25" fmla="*/ 2488147 h 2732111"/>
              <a:gd name="connsiteX26" fmla="*/ 2174635 w 3676056"/>
              <a:gd name="connsiteY26" fmla="*/ 2541487 h 2732111"/>
              <a:gd name="connsiteX27" fmla="*/ 1976515 w 3676056"/>
              <a:gd name="connsiteY27" fmla="*/ 2518627 h 2732111"/>
              <a:gd name="connsiteX28" fmla="*/ 1843165 w 3676056"/>
              <a:gd name="connsiteY28" fmla="*/ 2537677 h 2732111"/>
              <a:gd name="connsiteX29" fmla="*/ 1755535 w 3676056"/>
              <a:gd name="connsiteY29" fmla="*/ 2594827 h 2732111"/>
              <a:gd name="connsiteX30" fmla="*/ 1591705 w 3676056"/>
              <a:gd name="connsiteY30" fmla="*/ 2648167 h 2732111"/>
              <a:gd name="connsiteX31" fmla="*/ 1477405 w 3676056"/>
              <a:gd name="connsiteY31" fmla="*/ 2648167 h 2732111"/>
              <a:gd name="connsiteX32" fmla="*/ 1359295 w 3676056"/>
              <a:gd name="connsiteY32" fmla="*/ 2636737 h 2732111"/>
              <a:gd name="connsiteX33" fmla="*/ 1237375 w 3676056"/>
              <a:gd name="connsiteY33" fmla="*/ 2731987 h 2732111"/>
              <a:gd name="connsiteX34" fmla="*/ 1138315 w 3676056"/>
              <a:gd name="connsiteY34" fmla="*/ 2613877 h 2732111"/>
              <a:gd name="connsiteX35" fmla="*/ 951625 w 3676056"/>
              <a:gd name="connsiteY35" fmla="*/ 2377657 h 2732111"/>
              <a:gd name="connsiteX36" fmla="*/ 856375 w 3676056"/>
              <a:gd name="connsiteY36" fmla="*/ 2141437 h 2732111"/>
              <a:gd name="connsiteX37" fmla="*/ 753505 w 3676056"/>
              <a:gd name="connsiteY37" fmla="*/ 2049997 h 2732111"/>
              <a:gd name="connsiteX38" fmla="*/ 860185 w 3676056"/>
              <a:gd name="connsiteY38" fmla="*/ 1775677 h 2732111"/>
              <a:gd name="connsiteX39" fmla="*/ 856375 w 3676056"/>
              <a:gd name="connsiteY39" fmla="*/ 1649947 h 2732111"/>
              <a:gd name="connsiteX40" fmla="*/ 936385 w 3676056"/>
              <a:gd name="connsiteY40" fmla="*/ 1421347 h 2732111"/>
              <a:gd name="connsiteX41" fmla="*/ 757315 w 3676056"/>
              <a:gd name="connsiteY41" fmla="*/ 1265137 h 2732111"/>
              <a:gd name="connsiteX42" fmla="*/ 490615 w 3676056"/>
              <a:gd name="connsiteY42" fmla="*/ 1265137 h 2732111"/>
              <a:gd name="connsiteX43" fmla="*/ 182005 w 3676056"/>
              <a:gd name="connsiteY43" fmla="*/ 1314667 h 2732111"/>
              <a:gd name="connsiteX44" fmla="*/ 18175 w 3676056"/>
              <a:gd name="connsiteY44" fmla="*/ 1268947 h 2732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3676056" h="2732111">
                <a:moveTo>
                  <a:pt x="18175" y="1268947"/>
                </a:moveTo>
                <a:cubicBezTo>
                  <a:pt x="-9130" y="1235927"/>
                  <a:pt x="-2780" y="1195287"/>
                  <a:pt x="18175" y="1116547"/>
                </a:cubicBezTo>
                <a:cubicBezTo>
                  <a:pt x="39130" y="1037807"/>
                  <a:pt x="89930" y="856832"/>
                  <a:pt x="143905" y="796507"/>
                </a:cubicBezTo>
                <a:cubicBezTo>
                  <a:pt x="197880" y="736182"/>
                  <a:pt x="272175" y="785077"/>
                  <a:pt x="342025" y="754597"/>
                </a:cubicBezTo>
                <a:cubicBezTo>
                  <a:pt x="411875" y="724117"/>
                  <a:pt x="456960" y="693637"/>
                  <a:pt x="563005" y="613627"/>
                </a:cubicBezTo>
                <a:cubicBezTo>
                  <a:pt x="669050" y="533617"/>
                  <a:pt x="876060" y="374232"/>
                  <a:pt x="978295" y="274537"/>
                </a:cubicBezTo>
                <a:cubicBezTo>
                  <a:pt x="1080530" y="174842"/>
                  <a:pt x="1088150" y="48477"/>
                  <a:pt x="1176415" y="15457"/>
                </a:cubicBezTo>
                <a:cubicBezTo>
                  <a:pt x="1264680" y="-17563"/>
                  <a:pt x="1390410" y="2122"/>
                  <a:pt x="1507885" y="76417"/>
                </a:cubicBezTo>
                <a:cubicBezTo>
                  <a:pt x="1625360" y="150712"/>
                  <a:pt x="1810145" y="363437"/>
                  <a:pt x="1881265" y="461227"/>
                </a:cubicBezTo>
                <a:cubicBezTo>
                  <a:pt x="1952385" y="559017"/>
                  <a:pt x="1876185" y="578067"/>
                  <a:pt x="1934605" y="663157"/>
                </a:cubicBezTo>
                <a:cubicBezTo>
                  <a:pt x="1993025" y="748247"/>
                  <a:pt x="2125105" y="882867"/>
                  <a:pt x="2231785" y="971767"/>
                </a:cubicBezTo>
                <a:cubicBezTo>
                  <a:pt x="2338465" y="1060667"/>
                  <a:pt x="2519440" y="1112102"/>
                  <a:pt x="2574685" y="1196557"/>
                </a:cubicBezTo>
                <a:cubicBezTo>
                  <a:pt x="2629930" y="1281012"/>
                  <a:pt x="2511185" y="1411187"/>
                  <a:pt x="2563255" y="1478497"/>
                </a:cubicBezTo>
                <a:cubicBezTo>
                  <a:pt x="2615325" y="1545807"/>
                  <a:pt x="2791855" y="1587082"/>
                  <a:pt x="2887105" y="1600417"/>
                </a:cubicBezTo>
                <a:cubicBezTo>
                  <a:pt x="2982355" y="1613752"/>
                  <a:pt x="3056015" y="1561682"/>
                  <a:pt x="3134755" y="1558507"/>
                </a:cubicBezTo>
                <a:cubicBezTo>
                  <a:pt x="3213495" y="1555332"/>
                  <a:pt x="3290330" y="1540092"/>
                  <a:pt x="3359545" y="1581367"/>
                </a:cubicBezTo>
                <a:cubicBezTo>
                  <a:pt x="3428760" y="1622642"/>
                  <a:pt x="3513215" y="1731862"/>
                  <a:pt x="3550045" y="1806157"/>
                </a:cubicBezTo>
                <a:cubicBezTo>
                  <a:pt x="3586875" y="1880452"/>
                  <a:pt x="3560205" y="1970622"/>
                  <a:pt x="3580525" y="2027137"/>
                </a:cubicBezTo>
                <a:cubicBezTo>
                  <a:pt x="3600845" y="2083652"/>
                  <a:pt x="3661805" y="2105877"/>
                  <a:pt x="3671965" y="2145247"/>
                </a:cubicBezTo>
                <a:cubicBezTo>
                  <a:pt x="3682125" y="2184617"/>
                  <a:pt x="3673870" y="2229702"/>
                  <a:pt x="3641485" y="2263357"/>
                </a:cubicBezTo>
                <a:cubicBezTo>
                  <a:pt x="3609100" y="2297012"/>
                  <a:pt x="3530360" y="2345907"/>
                  <a:pt x="3477655" y="2347177"/>
                </a:cubicBezTo>
                <a:cubicBezTo>
                  <a:pt x="3424950" y="2348447"/>
                  <a:pt x="3325255" y="2270977"/>
                  <a:pt x="3325255" y="2270977"/>
                </a:cubicBezTo>
                <a:cubicBezTo>
                  <a:pt x="3272550" y="2244942"/>
                  <a:pt x="3235085" y="2194777"/>
                  <a:pt x="3161425" y="2190967"/>
                </a:cubicBezTo>
                <a:cubicBezTo>
                  <a:pt x="3087765" y="2187157"/>
                  <a:pt x="2969655" y="2217637"/>
                  <a:pt x="2883295" y="2248117"/>
                </a:cubicBezTo>
                <a:cubicBezTo>
                  <a:pt x="2796935" y="2278597"/>
                  <a:pt x="2728990" y="2333842"/>
                  <a:pt x="2643265" y="2373847"/>
                </a:cubicBezTo>
                <a:cubicBezTo>
                  <a:pt x="2557540" y="2413852"/>
                  <a:pt x="2447050" y="2460207"/>
                  <a:pt x="2368945" y="2488147"/>
                </a:cubicBezTo>
                <a:cubicBezTo>
                  <a:pt x="2290840" y="2516087"/>
                  <a:pt x="2240040" y="2536407"/>
                  <a:pt x="2174635" y="2541487"/>
                </a:cubicBezTo>
                <a:cubicBezTo>
                  <a:pt x="2109230" y="2546567"/>
                  <a:pt x="2031760" y="2519262"/>
                  <a:pt x="1976515" y="2518627"/>
                </a:cubicBezTo>
                <a:cubicBezTo>
                  <a:pt x="1921270" y="2517992"/>
                  <a:pt x="1879995" y="2524977"/>
                  <a:pt x="1843165" y="2537677"/>
                </a:cubicBezTo>
                <a:cubicBezTo>
                  <a:pt x="1806335" y="2550377"/>
                  <a:pt x="1797445" y="2576412"/>
                  <a:pt x="1755535" y="2594827"/>
                </a:cubicBezTo>
                <a:cubicBezTo>
                  <a:pt x="1713625" y="2613242"/>
                  <a:pt x="1638060" y="2639277"/>
                  <a:pt x="1591705" y="2648167"/>
                </a:cubicBezTo>
                <a:cubicBezTo>
                  <a:pt x="1545350" y="2657057"/>
                  <a:pt x="1516140" y="2650072"/>
                  <a:pt x="1477405" y="2648167"/>
                </a:cubicBezTo>
                <a:cubicBezTo>
                  <a:pt x="1438670" y="2646262"/>
                  <a:pt x="1399300" y="2622767"/>
                  <a:pt x="1359295" y="2636737"/>
                </a:cubicBezTo>
                <a:cubicBezTo>
                  <a:pt x="1319290" y="2650707"/>
                  <a:pt x="1274205" y="2735797"/>
                  <a:pt x="1237375" y="2731987"/>
                </a:cubicBezTo>
                <a:cubicBezTo>
                  <a:pt x="1200545" y="2728177"/>
                  <a:pt x="1185940" y="2672932"/>
                  <a:pt x="1138315" y="2613877"/>
                </a:cubicBezTo>
                <a:cubicBezTo>
                  <a:pt x="1090690" y="2554822"/>
                  <a:pt x="998615" y="2456397"/>
                  <a:pt x="951625" y="2377657"/>
                </a:cubicBezTo>
                <a:cubicBezTo>
                  <a:pt x="904635" y="2298917"/>
                  <a:pt x="889395" y="2196047"/>
                  <a:pt x="856375" y="2141437"/>
                </a:cubicBezTo>
                <a:cubicBezTo>
                  <a:pt x="823355" y="2086827"/>
                  <a:pt x="752870" y="2110957"/>
                  <a:pt x="753505" y="2049997"/>
                </a:cubicBezTo>
                <a:cubicBezTo>
                  <a:pt x="754140" y="1989037"/>
                  <a:pt x="843040" y="1842352"/>
                  <a:pt x="860185" y="1775677"/>
                </a:cubicBezTo>
                <a:cubicBezTo>
                  <a:pt x="877330" y="1709002"/>
                  <a:pt x="843675" y="1709002"/>
                  <a:pt x="856375" y="1649947"/>
                </a:cubicBezTo>
                <a:cubicBezTo>
                  <a:pt x="869075" y="1590892"/>
                  <a:pt x="952895" y="1485482"/>
                  <a:pt x="936385" y="1421347"/>
                </a:cubicBezTo>
                <a:cubicBezTo>
                  <a:pt x="919875" y="1357212"/>
                  <a:pt x="831610" y="1291172"/>
                  <a:pt x="757315" y="1265137"/>
                </a:cubicBezTo>
                <a:cubicBezTo>
                  <a:pt x="683020" y="1239102"/>
                  <a:pt x="586500" y="1256882"/>
                  <a:pt x="490615" y="1265137"/>
                </a:cubicBezTo>
                <a:cubicBezTo>
                  <a:pt x="394730" y="1273392"/>
                  <a:pt x="257570" y="1310857"/>
                  <a:pt x="182005" y="1314667"/>
                </a:cubicBezTo>
                <a:cubicBezTo>
                  <a:pt x="106440" y="1318477"/>
                  <a:pt x="45480" y="1301967"/>
                  <a:pt x="18175" y="1268947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sng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66" name="Freeform: Shape 165">
            <a:extLst>
              <a:ext uri="{FF2B5EF4-FFF2-40B4-BE49-F238E27FC236}">
                <a16:creationId xmlns:a16="http://schemas.microsoft.com/office/drawing/2014/main" id="{DDA576C5-6F84-4BA1-977E-4E465EEA7D21}"/>
              </a:ext>
            </a:extLst>
          </p:cNvPr>
          <p:cNvSpPr/>
          <p:nvPr/>
        </p:nvSpPr>
        <p:spPr>
          <a:xfrm>
            <a:off x="7451204" y="4349901"/>
            <a:ext cx="417853" cy="152647"/>
          </a:xfrm>
          <a:custGeom>
            <a:avLst/>
            <a:gdLst>
              <a:gd name="connsiteX0" fmla="*/ 51580 w 2265424"/>
              <a:gd name="connsiteY0" fmla="*/ 373408 h 834479"/>
              <a:gd name="connsiteX1" fmla="*/ 794530 w 2265424"/>
              <a:gd name="connsiteY1" fmla="*/ 110518 h 834479"/>
              <a:gd name="connsiteX2" fmla="*/ 1209820 w 2265424"/>
              <a:gd name="connsiteY2" fmla="*/ 110518 h 834479"/>
              <a:gd name="connsiteX3" fmla="*/ 1587010 w 2265424"/>
              <a:gd name="connsiteY3" fmla="*/ 28 h 834479"/>
              <a:gd name="connsiteX4" fmla="*/ 1948960 w 2265424"/>
              <a:gd name="connsiteY4" fmla="*/ 102898 h 834479"/>
              <a:gd name="connsiteX5" fmla="*/ 2265190 w 2265424"/>
              <a:gd name="connsiteY5" fmla="*/ 373408 h 834479"/>
              <a:gd name="connsiteX6" fmla="*/ 1899430 w 2265424"/>
              <a:gd name="connsiteY6" fmla="*/ 453418 h 834479"/>
              <a:gd name="connsiteX7" fmla="*/ 1663210 w 2265424"/>
              <a:gd name="connsiteY7" fmla="*/ 533428 h 834479"/>
              <a:gd name="connsiteX8" fmla="*/ 1442230 w 2265424"/>
              <a:gd name="connsiteY8" fmla="*/ 693448 h 834479"/>
              <a:gd name="connsiteX9" fmla="*/ 1221250 w 2265424"/>
              <a:gd name="connsiteY9" fmla="*/ 777268 h 834479"/>
              <a:gd name="connsiteX10" fmla="*/ 1061230 w 2265424"/>
              <a:gd name="connsiteY10" fmla="*/ 666778 h 834479"/>
              <a:gd name="connsiteX11" fmla="*/ 847870 w 2265424"/>
              <a:gd name="connsiteY11" fmla="*/ 624868 h 834479"/>
              <a:gd name="connsiteX12" fmla="*/ 615460 w 2265424"/>
              <a:gd name="connsiteY12" fmla="*/ 670588 h 834479"/>
              <a:gd name="connsiteX13" fmla="*/ 459250 w 2265424"/>
              <a:gd name="connsiteY13" fmla="*/ 754408 h 834479"/>
              <a:gd name="connsiteX14" fmla="*/ 432580 w 2265424"/>
              <a:gd name="connsiteY14" fmla="*/ 834418 h 834479"/>
              <a:gd name="connsiteX15" fmla="*/ 200170 w 2265424"/>
              <a:gd name="connsiteY15" fmla="*/ 765838 h 834479"/>
              <a:gd name="connsiteX16" fmla="*/ 97300 w 2265424"/>
              <a:gd name="connsiteY16" fmla="*/ 666778 h 834479"/>
              <a:gd name="connsiteX17" fmla="*/ 223030 w 2265424"/>
              <a:gd name="connsiteY17" fmla="*/ 563908 h 834479"/>
              <a:gd name="connsiteX18" fmla="*/ 82060 w 2265424"/>
              <a:gd name="connsiteY18" fmla="*/ 510568 h 834479"/>
              <a:gd name="connsiteX19" fmla="*/ 51580 w 2265424"/>
              <a:gd name="connsiteY19" fmla="*/ 373408 h 834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265424" h="834479">
                <a:moveTo>
                  <a:pt x="51580" y="373408"/>
                </a:moveTo>
                <a:cubicBezTo>
                  <a:pt x="170325" y="306733"/>
                  <a:pt x="601490" y="154333"/>
                  <a:pt x="794530" y="110518"/>
                </a:cubicBezTo>
                <a:cubicBezTo>
                  <a:pt x="987570" y="66703"/>
                  <a:pt x="1077740" y="128933"/>
                  <a:pt x="1209820" y="110518"/>
                </a:cubicBezTo>
                <a:cubicBezTo>
                  <a:pt x="1341900" y="92103"/>
                  <a:pt x="1463820" y="1298"/>
                  <a:pt x="1587010" y="28"/>
                </a:cubicBezTo>
                <a:cubicBezTo>
                  <a:pt x="1710200" y="-1242"/>
                  <a:pt x="1835930" y="40668"/>
                  <a:pt x="1948960" y="102898"/>
                </a:cubicBezTo>
                <a:cubicBezTo>
                  <a:pt x="2061990" y="165128"/>
                  <a:pt x="2273445" y="314988"/>
                  <a:pt x="2265190" y="373408"/>
                </a:cubicBezTo>
                <a:cubicBezTo>
                  <a:pt x="2256935" y="431828"/>
                  <a:pt x="1999760" y="426748"/>
                  <a:pt x="1899430" y="453418"/>
                </a:cubicBezTo>
                <a:cubicBezTo>
                  <a:pt x="1799100" y="480088"/>
                  <a:pt x="1739410" y="493423"/>
                  <a:pt x="1663210" y="533428"/>
                </a:cubicBezTo>
                <a:cubicBezTo>
                  <a:pt x="1587010" y="573433"/>
                  <a:pt x="1515890" y="652808"/>
                  <a:pt x="1442230" y="693448"/>
                </a:cubicBezTo>
                <a:cubicBezTo>
                  <a:pt x="1368570" y="734088"/>
                  <a:pt x="1284750" y="781713"/>
                  <a:pt x="1221250" y="777268"/>
                </a:cubicBezTo>
                <a:cubicBezTo>
                  <a:pt x="1157750" y="772823"/>
                  <a:pt x="1123460" y="692178"/>
                  <a:pt x="1061230" y="666778"/>
                </a:cubicBezTo>
                <a:cubicBezTo>
                  <a:pt x="999000" y="641378"/>
                  <a:pt x="922165" y="624233"/>
                  <a:pt x="847870" y="624868"/>
                </a:cubicBezTo>
                <a:cubicBezTo>
                  <a:pt x="773575" y="625503"/>
                  <a:pt x="680230" y="648998"/>
                  <a:pt x="615460" y="670588"/>
                </a:cubicBezTo>
                <a:cubicBezTo>
                  <a:pt x="550690" y="692178"/>
                  <a:pt x="489730" y="727103"/>
                  <a:pt x="459250" y="754408"/>
                </a:cubicBezTo>
                <a:cubicBezTo>
                  <a:pt x="428770" y="781713"/>
                  <a:pt x="475760" y="832513"/>
                  <a:pt x="432580" y="834418"/>
                </a:cubicBezTo>
                <a:cubicBezTo>
                  <a:pt x="389400" y="836323"/>
                  <a:pt x="256050" y="793778"/>
                  <a:pt x="200170" y="765838"/>
                </a:cubicBezTo>
                <a:cubicBezTo>
                  <a:pt x="144290" y="737898"/>
                  <a:pt x="93490" y="700433"/>
                  <a:pt x="97300" y="666778"/>
                </a:cubicBezTo>
                <a:cubicBezTo>
                  <a:pt x="101110" y="633123"/>
                  <a:pt x="225570" y="589943"/>
                  <a:pt x="223030" y="563908"/>
                </a:cubicBezTo>
                <a:cubicBezTo>
                  <a:pt x="220490" y="537873"/>
                  <a:pt x="111905" y="542953"/>
                  <a:pt x="82060" y="510568"/>
                </a:cubicBezTo>
                <a:cubicBezTo>
                  <a:pt x="52215" y="478183"/>
                  <a:pt x="-67165" y="440083"/>
                  <a:pt x="51580" y="373408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sng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67" name="Freeform: Shape 166">
            <a:extLst>
              <a:ext uri="{FF2B5EF4-FFF2-40B4-BE49-F238E27FC236}">
                <a16:creationId xmlns:a16="http://schemas.microsoft.com/office/drawing/2014/main" id="{D4BE7147-DEC3-4C02-BD96-9B470B22CCC3}"/>
              </a:ext>
            </a:extLst>
          </p:cNvPr>
          <p:cNvSpPr/>
          <p:nvPr/>
        </p:nvSpPr>
        <p:spPr>
          <a:xfrm>
            <a:off x="7377587" y="4436701"/>
            <a:ext cx="203210" cy="236806"/>
          </a:xfrm>
          <a:custGeom>
            <a:avLst/>
            <a:gdLst>
              <a:gd name="connsiteX0" fmla="*/ 248778 w 1101718"/>
              <a:gd name="connsiteY0" fmla="*/ 1777 h 1294558"/>
              <a:gd name="connsiteX1" fmla="*/ 58278 w 1101718"/>
              <a:gd name="connsiteY1" fmla="*/ 66547 h 1294558"/>
              <a:gd name="connsiteX2" fmla="*/ 4938 w 1101718"/>
              <a:gd name="connsiteY2" fmla="*/ 378967 h 1294558"/>
              <a:gd name="connsiteX3" fmla="*/ 161148 w 1101718"/>
              <a:gd name="connsiteY3" fmla="*/ 729487 h 1294558"/>
              <a:gd name="connsiteX4" fmla="*/ 153528 w 1101718"/>
              <a:gd name="connsiteY4" fmla="*/ 1038097 h 1294558"/>
              <a:gd name="connsiteX5" fmla="*/ 31608 w 1101718"/>
              <a:gd name="connsiteY5" fmla="*/ 1220977 h 1294558"/>
              <a:gd name="connsiteX6" fmla="*/ 142098 w 1101718"/>
              <a:gd name="connsiteY6" fmla="*/ 1285747 h 1294558"/>
              <a:gd name="connsiteX7" fmla="*/ 264018 w 1101718"/>
              <a:gd name="connsiteY7" fmla="*/ 1281937 h 1294558"/>
              <a:gd name="connsiteX8" fmla="*/ 378318 w 1101718"/>
              <a:gd name="connsiteY8" fmla="*/ 1175257 h 1294558"/>
              <a:gd name="connsiteX9" fmla="*/ 446898 w 1101718"/>
              <a:gd name="connsiteY9" fmla="*/ 1125727 h 1294558"/>
              <a:gd name="connsiteX10" fmla="*/ 671688 w 1101718"/>
              <a:gd name="connsiteY10" fmla="*/ 1148587 h 1294558"/>
              <a:gd name="connsiteX11" fmla="*/ 881238 w 1101718"/>
              <a:gd name="connsiteY11" fmla="*/ 1194307 h 1294558"/>
              <a:gd name="connsiteX12" fmla="*/ 1033638 w 1101718"/>
              <a:gd name="connsiteY12" fmla="*/ 1068577 h 1294558"/>
              <a:gd name="connsiteX13" fmla="*/ 1098408 w 1101718"/>
              <a:gd name="connsiteY13" fmla="*/ 824737 h 1294558"/>
              <a:gd name="connsiteX14" fmla="*/ 938388 w 1101718"/>
              <a:gd name="connsiteY14" fmla="*/ 569467 h 1294558"/>
              <a:gd name="connsiteX15" fmla="*/ 667878 w 1101718"/>
              <a:gd name="connsiteY15" fmla="*/ 428497 h 1294558"/>
              <a:gd name="connsiteX16" fmla="*/ 469758 w 1101718"/>
              <a:gd name="connsiteY16" fmla="*/ 344677 h 1294558"/>
              <a:gd name="connsiteX17" fmla="*/ 378318 w 1101718"/>
              <a:gd name="connsiteY17" fmla="*/ 218947 h 1294558"/>
              <a:gd name="connsiteX18" fmla="*/ 378318 w 1101718"/>
              <a:gd name="connsiteY18" fmla="*/ 104647 h 1294558"/>
              <a:gd name="connsiteX19" fmla="*/ 248778 w 1101718"/>
              <a:gd name="connsiteY19" fmla="*/ 1777 h 1294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101718" h="1294558">
                <a:moveTo>
                  <a:pt x="248778" y="1777"/>
                </a:moveTo>
                <a:cubicBezTo>
                  <a:pt x="195438" y="-4573"/>
                  <a:pt x="98918" y="3682"/>
                  <a:pt x="58278" y="66547"/>
                </a:cubicBezTo>
                <a:cubicBezTo>
                  <a:pt x="17638" y="129412"/>
                  <a:pt x="-12207" y="268477"/>
                  <a:pt x="4938" y="378967"/>
                </a:cubicBezTo>
                <a:cubicBezTo>
                  <a:pt x="22083" y="489457"/>
                  <a:pt x="136383" y="619632"/>
                  <a:pt x="161148" y="729487"/>
                </a:cubicBezTo>
                <a:cubicBezTo>
                  <a:pt x="185913" y="839342"/>
                  <a:pt x="175118" y="956182"/>
                  <a:pt x="153528" y="1038097"/>
                </a:cubicBezTo>
                <a:cubicBezTo>
                  <a:pt x="131938" y="1120012"/>
                  <a:pt x="33513" y="1179702"/>
                  <a:pt x="31608" y="1220977"/>
                </a:cubicBezTo>
                <a:cubicBezTo>
                  <a:pt x="29703" y="1262252"/>
                  <a:pt x="103363" y="1275587"/>
                  <a:pt x="142098" y="1285747"/>
                </a:cubicBezTo>
                <a:cubicBezTo>
                  <a:pt x="180833" y="1295907"/>
                  <a:pt x="224648" y="1300352"/>
                  <a:pt x="264018" y="1281937"/>
                </a:cubicBezTo>
                <a:cubicBezTo>
                  <a:pt x="303388" y="1263522"/>
                  <a:pt x="347838" y="1201292"/>
                  <a:pt x="378318" y="1175257"/>
                </a:cubicBezTo>
                <a:cubicBezTo>
                  <a:pt x="408798" y="1149222"/>
                  <a:pt x="398003" y="1130172"/>
                  <a:pt x="446898" y="1125727"/>
                </a:cubicBezTo>
                <a:cubicBezTo>
                  <a:pt x="495793" y="1121282"/>
                  <a:pt x="599298" y="1137157"/>
                  <a:pt x="671688" y="1148587"/>
                </a:cubicBezTo>
                <a:cubicBezTo>
                  <a:pt x="744078" y="1160017"/>
                  <a:pt x="820913" y="1207642"/>
                  <a:pt x="881238" y="1194307"/>
                </a:cubicBezTo>
                <a:cubicBezTo>
                  <a:pt x="941563" y="1180972"/>
                  <a:pt x="997443" y="1130172"/>
                  <a:pt x="1033638" y="1068577"/>
                </a:cubicBezTo>
                <a:cubicBezTo>
                  <a:pt x="1069833" y="1006982"/>
                  <a:pt x="1114283" y="907922"/>
                  <a:pt x="1098408" y="824737"/>
                </a:cubicBezTo>
                <a:cubicBezTo>
                  <a:pt x="1082533" y="741552"/>
                  <a:pt x="1010143" y="635507"/>
                  <a:pt x="938388" y="569467"/>
                </a:cubicBezTo>
                <a:cubicBezTo>
                  <a:pt x="866633" y="503427"/>
                  <a:pt x="745983" y="465962"/>
                  <a:pt x="667878" y="428497"/>
                </a:cubicBezTo>
                <a:cubicBezTo>
                  <a:pt x="589773" y="391032"/>
                  <a:pt x="518018" y="379602"/>
                  <a:pt x="469758" y="344677"/>
                </a:cubicBezTo>
                <a:cubicBezTo>
                  <a:pt x="421498" y="309752"/>
                  <a:pt x="393558" y="258952"/>
                  <a:pt x="378318" y="218947"/>
                </a:cubicBezTo>
                <a:cubicBezTo>
                  <a:pt x="363078" y="178942"/>
                  <a:pt x="398638" y="144017"/>
                  <a:pt x="378318" y="104647"/>
                </a:cubicBezTo>
                <a:cubicBezTo>
                  <a:pt x="357998" y="65277"/>
                  <a:pt x="302118" y="8127"/>
                  <a:pt x="248778" y="1777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sng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BA8A9318-4B6F-4A15-99D5-54966769B642}"/>
              </a:ext>
            </a:extLst>
          </p:cNvPr>
          <p:cNvSpPr/>
          <p:nvPr/>
        </p:nvSpPr>
        <p:spPr>
          <a:xfrm>
            <a:off x="7248096" y="4653854"/>
            <a:ext cx="322489" cy="428126"/>
          </a:xfrm>
          <a:custGeom>
            <a:avLst/>
            <a:gdLst>
              <a:gd name="connsiteX0" fmla="*/ 676497 w 1748401"/>
              <a:gd name="connsiteY0" fmla="*/ 123021 h 2340457"/>
              <a:gd name="connsiteX1" fmla="*/ 550767 w 1748401"/>
              <a:gd name="connsiteY1" fmla="*/ 347811 h 2340457"/>
              <a:gd name="connsiteX2" fmla="*/ 646017 w 1748401"/>
              <a:gd name="connsiteY2" fmla="*/ 717381 h 2340457"/>
              <a:gd name="connsiteX3" fmla="*/ 859377 w 1748401"/>
              <a:gd name="connsiteY3" fmla="*/ 1018371 h 2340457"/>
              <a:gd name="connsiteX4" fmla="*/ 931767 w 1748401"/>
              <a:gd name="connsiteY4" fmla="*/ 1136481 h 2340457"/>
              <a:gd name="connsiteX5" fmla="*/ 562197 w 1748401"/>
              <a:gd name="connsiteY5" fmla="*/ 1380321 h 2340457"/>
              <a:gd name="connsiteX6" fmla="*/ 341217 w 1748401"/>
              <a:gd name="connsiteY6" fmla="*/ 1399371 h 2340457"/>
              <a:gd name="connsiteX7" fmla="*/ 2127 w 1748401"/>
              <a:gd name="connsiteY7" fmla="*/ 1902291 h 2340457"/>
              <a:gd name="connsiteX8" fmla="*/ 204057 w 1748401"/>
              <a:gd name="connsiteY8" fmla="*/ 2069931 h 2340457"/>
              <a:gd name="connsiteX9" fmla="*/ 345027 w 1748401"/>
              <a:gd name="connsiteY9" fmla="*/ 2073741 h 2340457"/>
              <a:gd name="connsiteX10" fmla="*/ 687927 w 1748401"/>
              <a:gd name="connsiteY10" fmla="*/ 2279481 h 2340457"/>
              <a:gd name="connsiteX11" fmla="*/ 863187 w 1748401"/>
              <a:gd name="connsiteY11" fmla="*/ 2340441 h 2340457"/>
              <a:gd name="connsiteX12" fmla="*/ 1087977 w 1748401"/>
              <a:gd name="connsiteY12" fmla="*/ 2275671 h 2340457"/>
              <a:gd name="connsiteX13" fmla="*/ 1267047 w 1748401"/>
              <a:gd name="connsiteY13" fmla="*/ 2199471 h 2340457"/>
              <a:gd name="connsiteX14" fmla="*/ 1286097 w 1748401"/>
              <a:gd name="connsiteY14" fmla="*/ 2050881 h 2340457"/>
              <a:gd name="connsiteX15" fmla="*/ 1385157 w 1748401"/>
              <a:gd name="connsiteY15" fmla="*/ 1894671 h 2340457"/>
              <a:gd name="connsiteX16" fmla="*/ 1568037 w 1748401"/>
              <a:gd name="connsiteY16" fmla="*/ 1727031 h 2340457"/>
              <a:gd name="connsiteX17" fmla="*/ 1632807 w 1748401"/>
              <a:gd name="connsiteY17" fmla="*/ 1433661 h 2340457"/>
              <a:gd name="connsiteX18" fmla="*/ 1667097 w 1748401"/>
              <a:gd name="connsiteY18" fmla="*/ 1254591 h 2340457"/>
              <a:gd name="connsiteX19" fmla="*/ 1682337 w 1748401"/>
              <a:gd name="connsiteY19" fmla="*/ 1121241 h 2340457"/>
              <a:gd name="connsiteX20" fmla="*/ 1579467 w 1748401"/>
              <a:gd name="connsiteY20" fmla="*/ 972651 h 2340457"/>
              <a:gd name="connsiteX21" fmla="*/ 1747107 w 1748401"/>
              <a:gd name="connsiteY21" fmla="*/ 843111 h 2340457"/>
              <a:gd name="connsiteX22" fmla="*/ 1655667 w 1748401"/>
              <a:gd name="connsiteY22" fmla="*/ 648801 h 2340457"/>
              <a:gd name="connsiteX23" fmla="*/ 1628997 w 1748401"/>
              <a:gd name="connsiteY23" fmla="*/ 401151 h 2340457"/>
              <a:gd name="connsiteX24" fmla="*/ 1705197 w 1748401"/>
              <a:gd name="connsiteY24" fmla="*/ 199221 h 2340457"/>
              <a:gd name="connsiteX25" fmla="*/ 1602327 w 1748401"/>
              <a:gd name="connsiteY25" fmla="*/ 77301 h 2340457"/>
              <a:gd name="connsiteX26" fmla="*/ 1350867 w 1748401"/>
              <a:gd name="connsiteY26" fmla="*/ 1101 h 2340457"/>
              <a:gd name="connsiteX27" fmla="*/ 1091787 w 1748401"/>
              <a:gd name="connsiteY27" fmla="*/ 39201 h 2340457"/>
              <a:gd name="connsiteX28" fmla="*/ 962247 w 1748401"/>
              <a:gd name="connsiteY28" fmla="*/ 134451 h 2340457"/>
              <a:gd name="connsiteX29" fmla="*/ 790797 w 1748401"/>
              <a:gd name="connsiteY29" fmla="*/ 126831 h 2340457"/>
              <a:gd name="connsiteX30" fmla="*/ 676497 w 1748401"/>
              <a:gd name="connsiteY30" fmla="*/ 123021 h 2340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748401" h="2340457">
                <a:moveTo>
                  <a:pt x="676497" y="123021"/>
                </a:moveTo>
                <a:cubicBezTo>
                  <a:pt x="636492" y="159851"/>
                  <a:pt x="555847" y="248751"/>
                  <a:pt x="550767" y="347811"/>
                </a:cubicBezTo>
                <a:cubicBezTo>
                  <a:pt x="545687" y="446871"/>
                  <a:pt x="594582" y="605621"/>
                  <a:pt x="646017" y="717381"/>
                </a:cubicBezTo>
                <a:cubicBezTo>
                  <a:pt x="697452" y="829141"/>
                  <a:pt x="811752" y="948521"/>
                  <a:pt x="859377" y="1018371"/>
                </a:cubicBezTo>
                <a:cubicBezTo>
                  <a:pt x="907002" y="1088221"/>
                  <a:pt x="981297" y="1076156"/>
                  <a:pt x="931767" y="1136481"/>
                </a:cubicBezTo>
                <a:cubicBezTo>
                  <a:pt x="882237" y="1196806"/>
                  <a:pt x="660622" y="1336506"/>
                  <a:pt x="562197" y="1380321"/>
                </a:cubicBezTo>
                <a:cubicBezTo>
                  <a:pt x="463772" y="1424136"/>
                  <a:pt x="434562" y="1312376"/>
                  <a:pt x="341217" y="1399371"/>
                </a:cubicBezTo>
                <a:cubicBezTo>
                  <a:pt x="247872" y="1486366"/>
                  <a:pt x="24987" y="1790531"/>
                  <a:pt x="2127" y="1902291"/>
                </a:cubicBezTo>
                <a:cubicBezTo>
                  <a:pt x="-20733" y="2014051"/>
                  <a:pt x="146907" y="2041356"/>
                  <a:pt x="204057" y="2069931"/>
                </a:cubicBezTo>
                <a:cubicBezTo>
                  <a:pt x="261207" y="2098506"/>
                  <a:pt x="264382" y="2038816"/>
                  <a:pt x="345027" y="2073741"/>
                </a:cubicBezTo>
                <a:cubicBezTo>
                  <a:pt x="425672" y="2108666"/>
                  <a:pt x="601567" y="2235031"/>
                  <a:pt x="687927" y="2279481"/>
                </a:cubicBezTo>
                <a:cubicBezTo>
                  <a:pt x="774287" y="2323931"/>
                  <a:pt x="796512" y="2341076"/>
                  <a:pt x="863187" y="2340441"/>
                </a:cubicBezTo>
                <a:cubicBezTo>
                  <a:pt x="929862" y="2339806"/>
                  <a:pt x="1020667" y="2299166"/>
                  <a:pt x="1087977" y="2275671"/>
                </a:cubicBezTo>
                <a:cubicBezTo>
                  <a:pt x="1155287" y="2252176"/>
                  <a:pt x="1234027" y="2236936"/>
                  <a:pt x="1267047" y="2199471"/>
                </a:cubicBezTo>
                <a:cubicBezTo>
                  <a:pt x="1300067" y="2162006"/>
                  <a:pt x="1266412" y="2101681"/>
                  <a:pt x="1286097" y="2050881"/>
                </a:cubicBezTo>
                <a:cubicBezTo>
                  <a:pt x="1305782" y="2000081"/>
                  <a:pt x="1338167" y="1948646"/>
                  <a:pt x="1385157" y="1894671"/>
                </a:cubicBezTo>
                <a:cubicBezTo>
                  <a:pt x="1432147" y="1840696"/>
                  <a:pt x="1526762" y="1803866"/>
                  <a:pt x="1568037" y="1727031"/>
                </a:cubicBezTo>
                <a:cubicBezTo>
                  <a:pt x="1609312" y="1650196"/>
                  <a:pt x="1616297" y="1512401"/>
                  <a:pt x="1632807" y="1433661"/>
                </a:cubicBezTo>
                <a:cubicBezTo>
                  <a:pt x="1649317" y="1354921"/>
                  <a:pt x="1658842" y="1306661"/>
                  <a:pt x="1667097" y="1254591"/>
                </a:cubicBezTo>
                <a:cubicBezTo>
                  <a:pt x="1675352" y="1202521"/>
                  <a:pt x="1696942" y="1168231"/>
                  <a:pt x="1682337" y="1121241"/>
                </a:cubicBezTo>
                <a:cubicBezTo>
                  <a:pt x="1667732" y="1074251"/>
                  <a:pt x="1568672" y="1019006"/>
                  <a:pt x="1579467" y="972651"/>
                </a:cubicBezTo>
                <a:cubicBezTo>
                  <a:pt x="1590262" y="926296"/>
                  <a:pt x="1734407" y="897086"/>
                  <a:pt x="1747107" y="843111"/>
                </a:cubicBezTo>
                <a:cubicBezTo>
                  <a:pt x="1759807" y="789136"/>
                  <a:pt x="1675352" y="722461"/>
                  <a:pt x="1655667" y="648801"/>
                </a:cubicBezTo>
                <a:cubicBezTo>
                  <a:pt x="1635982" y="575141"/>
                  <a:pt x="1620742" y="476081"/>
                  <a:pt x="1628997" y="401151"/>
                </a:cubicBezTo>
                <a:cubicBezTo>
                  <a:pt x="1637252" y="326221"/>
                  <a:pt x="1709642" y="253196"/>
                  <a:pt x="1705197" y="199221"/>
                </a:cubicBezTo>
                <a:cubicBezTo>
                  <a:pt x="1700752" y="145246"/>
                  <a:pt x="1661382" y="110321"/>
                  <a:pt x="1602327" y="77301"/>
                </a:cubicBezTo>
                <a:cubicBezTo>
                  <a:pt x="1543272" y="44281"/>
                  <a:pt x="1435957" y="7451"/>
                  <a:pt x="1350867" y="1101"/>
                </a:cubicBezTo>
                <a:cubicBezTo>
                  <a:pt x="1265777" y="-5249"/>
                  <a:pt x="1156557" y="16976"/>
                  <a:pt x="1091787" y="39201"/>
                </a:cubicBezTo>
                <a:cubicBezTo>
                  <a:pt x="1027017" y="61426"/>
                  <a:pt x="1012412" y="119846"/>
                  <a:pt x="962247" y="134451"/>
                </a:cubicBezTo>
                <a:cubicBezTo>
                  <a:pt x="912082" y="149056"/>
                  <a:pt x="837152" y="130006"/>
                  <a:pt x="790797" y="126831"/>
                </a:cubicBezTo>
                <a:cubicBezTo>
                  <a:pt x="744442" y="123656"/>
                  <a:pt x="716502" y="86191"/>
                  <a:pt x="676497" y="123021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900" b="0" i="0" u="sng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5057BCF1-EDF9-4046-817A-6E76EC9B6FDF}"/>
              </a:ext>
            </a:extLst>
          </p:cNvPr>
          <p:cNvSpPr/>
          <p:nvPr/>
        </p:nvSpPr>
        <p:spPr>
          <a:xfrm>
            <a:off x="7680827" y="4418241"/>
            <a:ext cx="315724" cy="40460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0" name="Retângulo 69">
            <a:extLst>
              <a:ext uri="{FF2B5EF4-FFF2-40B4-BE49-F238E27FC236}">
                <a16:creationId xmlns:a16="http://schemas.microsoft.com/office/drawing/2014/main" id="{1D001281-DDE3-4C0E-A6B3-F4AD7ABD4592}"/>
              </a:ext>
            </a:extLst>
          </p:cNvPr>
          <p:cNvSpPr/>
          <p:nvPr/>
        </p:nvSpPr>
        <p:spPr>
          <a:xfrm>
            <a:off x="7451204" y="4773081"/>
            <a:ext cx="309632" cy="19594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2" name="Elipse 71">
            <a:extLst>
              <a:ext uri="{FF2B5EF4-FFF2-40B4-BE49-F238E27FC236}">
                <a16:creationId xmlns:a16="http://schemas.microsoft.com/office/drawing/2014/main" id="{50393FFF-676F-4303-9B6F-09D3C43E078B}"/>
              </a:ext>
            </a:extLst>
          </p:cNvPr>
          <p:cNvSpPr/>
          <p:nvPr/>
        </p:nvSpPr>
        <p:spPr>
          <a:xfrm>
            <a:off x="7399489" y="4406087"/>
            <a:ext cx="290017" cy="18797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3" name="Elipse 72">
            <a:extLst>
              <a:ext uri="{FF2B5EF4-FFF2-40B4-BE49-F238E27FC236}">
                <a16:creationId xmlns:a16="http://schemas.microsoft.com/office/drawing/2014/main" id="{37A6CB98-7680-4455-A59E-0499041337BE}"/>
              </a:ext>
            </a:extLst>
          </p:cNvPr>
          <p:cNvSpPr/>
          <p:nvPr/>
        </p:nvSpPr>
        <p:spPr>
          <a:xfrm>
            <a:off x="7373690" y="4611626"/>
            <a:ext cx="290017" cy="18797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4" name="Elipse 73">
            <a:extLst>
              <a:ext uri="{FF2B5EF4-FFF2-40B4-BE49-F238E27FC236}">
                <a16:creationId xmlns:a16="http://schemas.microsoft.com/office/drawing/2014/main" id="{C26741B3-0EE7-42FB-A709-E5E95B8AFB7F}"/>
              </a:ext>
            </a:extLst>
          </p:cNvPr>
          <p:cNvSpPr/>
          <p:nvPr/>
        </p:nvSpPr>
        <p:spPr>
          <a:xfrm>
            <a:off x="7498975" y="4569695"/>
            <a:ext cx="290017" cy="18797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/>
            </a:endParaRPr>
          </a:p>
        </p:txBody>
      </p:sp>
      <p:sp>
        <p:nvSpPr>
          <p:cNvPr id="75" name="TextBox 248">
            <a:extLst>
              <a:ext uri="{FF2B5EF4-FFF2-40B4-BE49-F238E27FC236}">
                <a16:creationId xmlns:a16="http://schemas.microsoft.com/office/drawing/2014/main" id="{A7568D1E-19BF-432F-9FD4-D1BE9021DD11}"/>
              </a:ext>
            </a:extLst>
          </p:cNvPr>
          <p:cNvSpPr txBox="1"/>
          <p:nvPr/>
        </p:nvSpPr>
        <p:spPr>
          <a:xfrm>
            <a:off x="7405790" y="4539547"/>
            <a:ext cx="729591" cy="1384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Grande SP</a:t>
            </a:r>
          </a:p>
        </p:txBody>
      </p:sp>
      <p:sp>
        <p:nvSpPr>
          <p:cNvPr id="63" name="Title 51">
            <a:extLst>
              <a:ext uri="{FF2B5EF4-FFF2-40B4-BE49-F238E27FC236}">
                <a16:creationId xmlns:a16="http://schemas.microsoft.com/office/drawing/2014/main" id="{37BB217A-A21F-46E1-A3FA-8C7718843FD0}"/>
              </a:ext>
            </a:extLst>
          </p:cNvPr>
          <p:cNvSpPr txBox="1">
            <a:spLocks/>
          </p:cNvSpPr>
          <p:nvPr/>
        </p:nvSpPr>
        <p:spPr>
          <a:xfrm>
            <a:off x="7154474" y="1168604"/>
            <a:ext cx="4639759" cy="8545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bIns="27432" anchor="b"/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  <a:sym typeface="Calibri"/>
              </a:rPr>
              <a:t>Vigência a partir de sábado (06/03) até dia 19/03</a:t>
            </a: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434826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95CFBFAF-64D3-4204-8849-9C0992C491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95CFBFAF-64D3-4204-8849-9C0992C49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>
            <a:extLst>
              <a:ext uri="{FF2B5EF4-FFF2-40B4-BE49-F238E27FC236}">
                <a16:creationId xmlns:a16="http://schemas.microsoft.com/office/drawing/2014/main" id="{2C235EF1-A017-4186-98D0-E7488DBC8C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65ECC530-B1F5-4A76-9DBC-16CF3E9E1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466" y="216399"/>
            <a:ext cx="8642872" cy="511062"/>
          </a:xfrm>
        </p:spPr>
        <p:txBody>
          <a:bodyPr vert="horz">
            <a:normAutofit fontScale="90000"/>
          </a:bodyPr>
          <a:lstStyle/>
          <a:p>
            <a:r>
              <a:rPr lang="pt-BR" dirty="0">
                <a:latin typeface="Calibri" panose="020F0502020204030204"/>
                <a:sym typeface="Calibri"/>
              </a:rPr>
              <a:t>R</a:t>
            </a:r>
            <a:r>
              <a:rPr kumimoji="0" lang="pt-BR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Calibri"/>
              </a:rPr>
              <a:t>egras</a:t>
            </a: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Calibri"/>
              </a:rPr>
              <a:t> de funcionamento das atividades na fase </a:t>
            </a:r>
            <a:r>
              <a:rPr kumimoji="0" lang="pt-BR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Calibri"/>
              </a:rPr>
              <a:t>vermelha 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Calibri"/>
              </a:rPr>
              <a:t>e toque de restrição a partir das 20h até 5h</a:t>
            </a:r>
            <a:endParaRPr lang="pt-BR" dirty="0">
              <a:solidFill>
                <a:schemeClr val="accent4"/>
              </a:solidFill>
            </a:endParaRPr>
          </a:p>
        </p:txBody>
      </p:sp>
      <p:sp>
        <p:nvSpPr>
          <p:cNvPr id="9" name="Oval 25">
            <a:extLst>
              <a:ext uri="{FF2B5EF4-FFF2-40B4-BE49-F238E27FC236}">
                <a16:creationId xmlns:a16="http://schemas.microsoft.com/office/drawing/2014/main" id="{D2CD7A66-6B67-4D03-9642-81F99346076B}"/>
              </a:ext>
            </a:extLst>
          </p:cNvPr>
          <p:cNvSpPr/>
          <p:nvPr/>
        </p:nvSpPr>
        <p:spPr>
          <a:xfrm>
            <a:off x="486648" y="973177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id="{F5E7C1BC-02D8-4E14-A076-9BC749E2E928}"/>
              </a:ext>
            </a:extLst>
          </p:cNvPr>
          <p:cNvSpPr txBox="1"/>
          <p:nvPr/>
        </p:nvSpPr>
        <p:spPr>
          <a:xfrm>
            <a:off x="9702773" y="2677331"/>
            <a:ext cx="199835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Toque de restrição</a:t>
            </a:r>
            <a:br>
              <a:rPr kumimoji="0" lang="pt-BR" sz="28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</a:br>
            <a:r>
              <a:rPr kumimoji="0" lang="pt-BR" sz="28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em todo o estado a partir das 20h até 5h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DA536095-9B72-4250-93D1-288906E01C10}"/>
              </a:ext>
            </a:extLst>
          </p:cNvPr>
          <p:cNvSpPr txBox="1"/>
          <p:nvPr/>
        </p:nvSpPr>
        <p:spPr>
          <a:xfrm>
            <a:off x="1185103" y="938235"/>
            <a:ext cx="306171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aúde: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hospitais, clínicas, farmácias, clínicas odontológicas e  estabelecimentos de saúde animal</a:t>
            </a:r>
          </a:p>
        </p:txBody>
      </p:sp>
      <p:sp>
        <p:nvSpPr>
          <p:cNvPr id="41" name="Oval 25">
            <a:extLst>
              <a:ext uri="{FF2B5EF4-FFF2-40B4-BE49-F238E27FC236}">
                <a16:creationId xmlns:a16="http://schemas.microsoft.com/office/drawing/2014/main" id="{D46DE827-864E-4091-AA4F-332503388807}"/>
              </a:ext>
            </a:extLst>
          </p:cNvPr>
          <p:cNvSpPr/>
          <p:nvPr/>
        </p:nvSpPr>
        <p:spPr>
          <a:xfrm>
            <a:off x="486648" y="2304507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47E9CCCA-2206-4DD1-B600-83170C410D1E}"/>
              </a:ext>
            </a:extLst>
          </p:cNvPr>
          <p:cNvSpPr txBox="1"/>
          <p:nvPr/>
        </p:nvSpPr>
        <p:spPr>
          <a:xfrm>
            <a:off x="1185103" y="2161844"/>
            <a:ext cx="306171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limentaçã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: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upermercados, hipermercados, açougues e padarias, lojas de suplemento, feiras livres. </a:t>
            </a:r>
            <a:r>
              <a:rPr kumimoji="0" lang="pt-BR" sz="1400" b="0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É vedado o consumo no local</a:t>
            </a:r>
            <a:endParaRPr kumimoji="0" lang="pt-B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3" name="Oval 25">
            <a:extLst>
              <a:ext uri="{FF2B5EF4-FFF2-40B4-BE49-F238E27FC236}">
                <a16:creationId xmlns:a16="http://schemas.microsoft.com/office/drawing/2014/main" id="{AEB68065-F2ED-4A55-A024-EC5B2BB7F9E8}"/>
              </a:ext>
            </a:extLst>
          </p:cNvPr>
          <p:cNvSpPr/>
          <p:nvPr/>
        </p:nvSpPr>
        <p:spPr>
          <a:xfrm>
            <a:off x="486648" y="3447596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55E4B5B4-CDAD-4B80-AE5F-D55C899E5BCB}"/>
              </a:ext>
            </a:extLst>
          </p:cNvPr>
          <p:cNvSpPr txBox="1"/>
          <p:nvPr/>
        </p:nvSpPr>
        <p:spPr>
          <a:xfrm>
            <a:off x="5062593" y="2161844"/>
            <a:ext cx="419100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Restaurantes (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delivery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, retirada e </a:t>
            </a:r>
            <a:r>
              <a:rPr kumimoji="0" lang="pt-BR" sz="14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drive-</a:t>
            </a:r>
            <a:r>
              <a:rPr kumimoji="0" lang="pt-BR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thru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) e similare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permitido serviços de retirada, entrega (delivery) e que permitem a compra sem sair do carro (drive 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hru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). </a:t>
            </a:r>
            <a:r>
              <a:rPr kumimoji="0" lang="pt-BR" sz="1400" b="0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É vedado o consumo no local</a:t>
            </a:r>
            <a:endParaRPr kumimoji="0" lang="pt-BR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5" name="Oval 25">
            <a:extLst>
              <a:ext uri="{FF2B5EF4-FFF2-40B4-BE49-F238E27FC236}">
                <a16:creationId xmlns:a16="http://schemas.microsoft.com/office/drawing/2014/main" id="{0A2CEF9E-5D5F-4088-A10E-5C8C24645F6C}"/>
              </a:ext>
            </a:extLst>
          </p:cNvPr>
          <p:cNvSpPr/>
          <p:nvPr/>
        </p:nvSpPr>
        <p:spPr>
          <a:xfrm>
            <a:off x="486648" y="4506511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556F343A-8A4B-4E55-9372-90E92A741529}"/>
              </a:ext>
            </a:extLst>
          </p:cNvPr>
          <p:cNvSpPr txBox="1"/>
          <p:nvPr/>
        </p:nvSpPr>
        <p:spPr>
          <a:xfrm>
            <a:off x="5062593" y="4436264"/>
            <a:ext cx="444552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basteciment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cadeia de abastecimento e logística, produção agropecuária e agroindústria, transportadoras, armazéns, postos de combustíveis e lojas de materiais de construção</a:t>
            </a:r>
          </a:p>
        </p:txBody>
      </p:sp>
      <p:sp>
        <p:nvSpPr>
          <p:cNvPr id="47" name="Oval 25">
            <a:extLst>
              <a:ext uri="{FF2B5EF4-FFF2-40B4-BE49-F238E27FC236}">
                <a16:creationId xmlns:a16="http://schemas.microsoft.com/office/drawing/2014/main" id="{4987EE32-BDA9-468E-9A34-C71085134E35}"/>
              </a:ext>
            </a:extLst>
          </p:cNvPr>
          <p:cNvSpPr/>
          <p:nvPr/>
        </p:nvSpPr>
        <p:spPr>
          <a:xfrm>
            <a:off x="486648" y="5654224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934E2188-85CB-45C9-9BF1-47CABFFF8C2E}"/>
              </a:ext>
            </a:extLst>
          </p:cNvPr>
          <p:cNvSpPr txBox="1"/>
          <p:nvPr/>
        </p:nvSpPr>
        <p:spPr>
          <a:xfrm>
            <a:off x="5062593" y="3361655"/>
            <a:ext cx="419100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Logístic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estabelecimentos e empresas de locação de veículos, oficinas de veículos automotores, transporte público coletivo, táxis, aplicativos de transporte, serviços de entrega e estacionamentos</a:t>
            </a:r>
          </a:p>
        </p:txBody>
      </p:sp>
      <p:sp>
        <p:nvSpPr>
          <p:cNvPr id="55" name="Oval 25">
            <a:extLst>
              <a:ext uri="{FF2B5EF4-FFF2-40B4-BE49-F238E27FC236}">
                <a16:creationId xmlns:a16="http://schemas.microsoft.com/office/drawing/2014/main" id="{418B72D2-B3DA-4999-9E0B-C54D72E37012}"/>
              </a:ext>
            </a:extLst>
          </p:cNvPr>
          <p:cNvSpPr/>
          <p:nvPr/>
        </p:nvSpPr>
        <p:spPr>
          <a:xfrm>
            <a:off x="4364137" y="973177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56" name="CaixaDeTexto 55">
            <a:extLst>
              <a:ext uri="{FF2B5EF4-FFF2-40B4-BE49-F238E27FC236}">
                <a16:creationId xmlns:a16="http://schemas.microsoft.com/office/drawing/2014/main" id="{55ED1D48-531E-40CD-839F-A54D2AC9A4C8}"/>
              </a:ext>
            </a:extLst>
          </p:cNvPr>
          <p:cNvSpPr txBox="1"/>
          <p:nvPr/>
        </p:nvSpPr>
        <p:spPr>
          <a:xfrm>
            <a:off x="5062593" y="938235"/>
            <a:ext cx="415513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erviços gerais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: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hotéis, lavanderias, serviços de limpeza, manutenção e zeladoria, serviços bancários (incluindo lotéricas), serviços de </a:t>
            </a:r>
            <a:r>
              <a:rPr kumimoji="0" lang="pt-BR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call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center, assistência técnica de produtos eletroeletrônicos e bancas de jornais, atividades religiosas</a:t>
            </a:r>
          </a:p>
        </p:txBody>
      </p:sp>
      <p:sp>
        <p:nvSpPr>
          <p:cNvPr id="57" name="Oval 25">
            <a:extLst>
              <a:ext uri="{FF2B5EF4-FFF2-40B4-BE49-F238E27FC236}">
                <a16:creationId xmlns:a16="http://schemas.microsoft.com/office/drawing/2014/main" id="{03E89922-3614-4F16-9595-BC372EA164AD}"/>
              </a:ext>
            </a:extLst>
          </p:cNvPr>
          <p:cNvSpPr/>
          <p:nvPr/>
        </p:nvSpPr>
        <p:spPr>
          <a:xfrm>
            <a:off x="4364137" y="2304507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58" name="CaixaDeTexto 57">
            <a:extLst>
              <a:ext uri="{FF2B5EF4-FFF2-40B4-BE49-F238E27FC236}">
                <a16:creationId xmlns:a16="http://schemas.microsoft.com/office/drawing/2014/main" id="{86F7E075-853E-475E-B5D7-250405F7EFCF}"/>
              </a:ext>
            </a:extLst>
          </p:cNvPr>
          <p:cNvSpPr txBox="1"/>
          <p:nvPr/>
        </p:nvSpPr>
        <p:spPr>
          <a:xfrm>
            <a:off x="1185103" y="3520376"/>
            <a:ext cx="32019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Seguranç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: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erviços de segurança pública e privada</a:t>
            </a:r>
          </a:p>
        </p:txBody>
      </p:sp>
      <p:sp>
        <p:nvSpPr>
          <p:cNvPr id="59" name="Oval 25">
            <a:extLst>
              <a:ext uri="{FF2B5EF4-FFF2-40B4-BE49-F238E27FC236}">
                <a16:creationId xmlns:a16="http://schemas.microsoft.com/office/drawing/2014/main" id="{AA54ECF1-2427-4A69-A317-EA4A76585704}"/>
              </a:ext>
            </a:extLst>
          </p:cNvPr>
          <p:cNvSpPr/>
          <p:nvPr/>
        </p:nvSpPr>
        <p:spPr>
          <a:xfrm>
            <a:off x="4364137" y="3447596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60" name="CaixaDeTexto 59">
            <a:extLst>
              <a:ext uri="{FF2B5EF4-FFF2-40B4-BE49-F238E27FC236}">
                <a16:creationId xmlns:a16="http://schemas.microsoft.com/office/drawing/2014/main" id="{98E4DAEC-B379-4B57-89DA-FC9FB3584BFC}"/>
              </a:ext>
            </a:extLst>
          </p:cNvPr>
          <p:cNvSpPr txBox="1"/>
          <p:nvPr/>
        </p:nvSpPr>
        <p:spPr>
          <a:xfrm>
            <a:off x="1185103" y="4479158"/>
            <a:ext cx="30842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omunicação social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meios de comunicação social executada por empresas jornalísticas e de radiodifusão sonora e de sons e imagens</a:t>
            </a:r>
          </a:p>
        </p:txBody>
      </p:sp>
      <p:sp>
        <p:nvSpPr>
          <p:cNvPr id="61" name="Oval 25">
            <a:extLst>
              <a:ext uri="{FF2B5EF4-FFF2-40B4-BE49-F238E27FC236}">
                <a16:creationId xmlns:a16="http://schemas.microsoft.com/office/drawing/2014/main" id="{66248A9B-DE71-4F73-BF8F-8EA8D3DE5A00}"/>
              </a:ext>
            </a:extLst>
          </p:cNvPr>
          <p:cNvSpPr/>
          <p:nvPr/>
        </p:nvSpPr>
        <p:spPr>
          <a:xfrm>
            <a:off x="4364137" y="4506511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62" name="CaixaDeTexto 61">
            <a:extLst>
              <a:ext uri="{FF2B5EF4-FFF2-40B4-BE49-F238E27FC236}">
                <a16:creationId xmlns:a16="http://schemas.microsoft.com/office/drawing/2014/main" id="{1B1CF8A6-F012-4381-98CD-FAEED8C1176C}"/>
              </a:ext>
            </a:extLst>
          </p:cNvPr>
          <p:cNvSpPr txBox="1"/>
          <p:nvPr/>
        </p:nvSpPr>
        <p:spPr>
          <a:xfrm>
            <a:off x="1185103" y="5742316"/>
            <a:ext cx="308420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onstrução civil e indústria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: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em restrições</a:t>
            </a:r>
          </a:p>
        </p:txBody>
      </p:sp>
      <p:sp>
        <p:nvSpPr>
          <p:cNvPr id="65" name="Oval 25">
            <a:extLst>
              <a:ext uri="{FF2B5EF4-FFF2-40B4-BE49-F238E27FC236}">
                <a16:creationId xmlns:a16="http://schemas.microsoft.com/office/drawing/2014/main" id="{FA41CAA1-DF43-44A3-9EDC-DA2D6D5D5E6D}"/>
              </a:ext>
            </a:extLst>
          </p:cNvPr>
          <p:cNvSpPr/>
          <p:nvPr/>
        </p:nvSpPr>
        <p:spPr>
          <a:xfrm>
            <a:off x="10192381" y="1494293"/>
            <a:ext cx="1019140" cy="980549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pic>
        <p:nvPicPr>
          <p:cNvPr id="70" name="Gráfico 69" descr="Carrinho de compras com preenchimento sólido">
            <a:extLst>
              <a:ext uri="{FF2B5EF4-FFF2-40B4-BE49-F238E27FC236}">
                <a16:creationId xmlns:a16="http://schemas.microsoft.com/office/drawing/2014/main" id="{E2AF7110-3AFD-464E-B34A-CC60F83FDA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6878" y="2417231"/>
            <a:ext cx="457200" cy="457200"/>
          </a:xfrm>
          <a:prstGeom prst="rect">
            <a:avLst/>
          </a:prstGeom>
        </p:spPr>
      </p:pic>
      <p:pic>
        <p:nvPicPr>
          <p:cNvPr id="73" name="Gráfico 72" descr="Casa com preenchimento sólido">
            <a:extLst>
              <a:ext uri="{FF2B5EF4-FFF2-40B4-BE49-F238E27FC236}">
                <a16:creationId xmlns:a16="http://schemas.microsoft.com/office/drawing/2014/main" id="{A36F0A95-7B86-4F49-8B5F-BCC75323F4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83685" y="1770303"/>
            <a:ext cx="636532" cy="636532"/>
          </a:xfrm>
          <a:prstGeom prst="rect">
            <a:avLst/>
          </a:prstGeom>
        </p:spPr>
      </p:pic>
      <p:pic>
        <p:nvPicPr>
          <p:cNvPr id="75" name="Gráfico 74" descr="Relógio com preenchimento sólido">
            <a:extLst>
              <a:ext uri="{FF2B5EF4-FFF2-40B4-BE49-F238E27FC236}">
                <a16:creationId xmlns:a16="http://schemas.microsoft.com/office/drawing/2014/main" id="{BD64E6EA-267F-4033-B4DE-D635559D07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73351" y="1538874"/>
            <a:ext cx="457200" cy="457200"/>
          </a:xfrm>
          <a:prstGeom prst="rect">
            <a:avLst/>
          </a:prstGeom>
        </p:spPr>
      </p:pic>
      <p:sp>
        <p:nvSpPr>
          <p:cNvPr id="79" name="Cruz 78">
            <a:extLst>
              <a:ext uri="{FF2B5EF4-FFF2-40B4-BE49-F238E27FC236}">
                <a16:creationId xmlns:a16="http://schemas.microsoft.com/office/drawing/2014/main" id="{F0C06024-322E-4685-871C-02ECDCEA9F3B}"/>
              </a:ext>
            </a:extLst>
          </p:cNvPr>
          <p:cNvSpPr/>
          <p:nvPr/>
        </p:nvSpPr>
        <p:spPr>
          <a:xfrm>
            <a:off x="593754" y="1110142"/>
            <a:ext cx="438637" cy="391874"/>
          </a:xfrm>
          <a:prstGeom prst="plus">
            <a:avLst>
              <a:gd name="adj" fmla="val 36756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1" name="Gráfico 80" descr="Sirene com preenchimento sólido">
            <a:extLst>
              <a:ext uri="{FF2B5EF4-FFF2-40B4-BE49-F238E27FC236}">
                <a16:creationId xmlns:a16="http://schemas.microsoft.com/office/drawing/2014/main" id="{E69C7C74-3688-43FA-A046-E5B47E7D7E3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1233" y="3552039"/>
            <a:ext cx="457200" cy="457200"/>
          </a:xfrm>
          <a:prstGeom prst="rect">
            <a:avLst/>
          </a:prstGeom>
        </p:spPr>
      </p:pic>
      <p:pic>
        <p:nvPicPr>
          <p:cNvPr id="85" name="Gráfico 84" descr="Garfo e Faca com preenchimento sólido">
            <a:extLst>
              <a:ext uri="{FF2B5EF4-FFF2-40B4-BE49-F238E27FC236}">
                <a16:creationId xmlns:a16="http://schemas.microsoft.com/office/drawing/2014/main" id="{57C54947-EDCC-45A2-9FA4-305F570C408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67032" y="2404593"/>
            <a:ext cx="457200" cy="457200"/>
          </a:xfrm>
          <a:prstGeom prst="rect">
            <a:avLst/>
          </a:prstGeom>
        </p:spPr>
      </p:pic>
      <p:pic>
        <p:nvPicPr>
          <p:cNvPr id="87" name="Gráfico 86" descr="Jornal com preenchimento sólido">
            <a:extLst>
              <a:ext uri="{FF2B5EF4-FFF2-40B4-BE49-F238E27FC236}">
                <a16:creationId xmlns:a16="http://schemas.microsoft.com/office/drawing/2014/main" id="{F42918D7-EAA4-43CA-B87A-4F8B13F0795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484528" y="4640838"/>
            <a:ext cx="439704" cy="439704"/>
          </a:xfrm>
          <a:prstGeom prst="rect">
            <a:avLst/>
          </a:prstGeom>
        </p:spPr>
      </p:pic>
      <p:pic>
        <p:nvPicPr>
          <p:cNvPr id="89" name="Gráfico 88" descr="Caminhão com preenchimento sólido">
            <a:extLst>
              <a:ext uri="{FF2B5EF4-FFF2-40B4-BE49-F238E27FC236}">
                <a16:creationId xmlns:a16="http://schemas.microsoft.com/office/drawing/2014/main" id="{0CF7DE17-9143-478A-8918-EBDCF23218A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75191" y="5742316"/>
            <a:ext cx="492733" cy="492733"/>
          </a:xfrm>
          <a:prstGeom prst="rect">
            <a:avLst/>
          </a:prstGeom>
        </p:spPr>
      </p:pic>
      <p:pic>
        <p:nvPicPr>
          <p:cNvPr id="91" name="Gráfico 90" descr="Combustível com preenchimento sólido">
            <a:extLst>
              <a:ext uri="{FF2B5EF4-FFF2-40B4-BE49-F238E27FC236}">
                <a16:creationId xmlns:a16="http://schemas.microsoft.com/office/drawing/2014/main" id="{F93CF3CB-37A3-4400-8105-84809F9FD8D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07275" y="4615578"/>
            <a:ext cx="457200" cy="457200"/>
          </a:xfrm>
          <a:prstGeom prst="rect">
            <a:avLst/>
          </a:prstGeom>
        </p:spPr>
      </p:pic>
      <p:pic>
        <p:nvPicPr>
          <p:cNvPr id="93" name="Gráfico 92" descr="Fábrica com preenchimento sólido">
            <a:extLst>
              <a:ext uri="{FF2B5EF4-FFF2-40B4-BE49-F238E27FC236}">
                <a16:creationId xmlns:a16="http://schemas.microsoft.com/office/drawing/2014/main" id="{C8DA7265-AA83-4ECF-94D0-7F7B611A001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458490" y="3501204"/>
            <a:ext cx="523220" cy="523220"/>
          </a:xfrm>
          <a:prstGeom prst="rect">
            <a:avLst/>
          </a:prstGeom>
        </p:spPr>
      </p:pic>
      <p:sp>
        <p:nvSpPr>
          <p:cNvPr id="104" name="Oval 25">
            <a:extLst>
              <a:ext uri="{FF2B5EF4-FFF2-40B4-BE49-F238E27FC236}">
                <a16:creationId xmlns:a16="http://schemas.microsoft.com/office/drawing/2014/main" id="{B01AA1A4-B537-4FE0-B92B-B2DEC91BF1BC}"/>
              </a:ext>
            </a:extLst>
          </p:cNvPr>
          <p:cNvSpPr/>
          <p:nvPr/>
        </p:nvSpPr>
        <p:spPr>
          <a:xfrm>
            <a:off x="4364137" y="5654224"/>
            <a:ext cx="654926" cy="668780"/>
          </a:xfrm>
          <a:prstGeom prst="ellipse">
            <a:avLst/>
          </a:prstGeom>
          <a:solidFill>
            <a:schemeClr val="tx1"/>
          </a:solidFill>
          <a:ln w="76200" cap="flat">
            <a:solidFill>
              <a:srgbClr val="FF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105" name="CaixaDeTexto 104">
            <a:extLst>
              <a:ext uri="{FF2B5EF4-FFF2-40B4-BE49-F238E27FC236}">
                <a16:creationId xmlns:a16="http://schemas.microsoft.com/office/drawing/2014/main" id="{93F1416D-F5D9-4ADD-AAF5-1B766589D0F7}"/>
              </a:ext>
            </a:extLst>
          </p:cNvPr>
          <p:cNvSpPr txBox="1"/>
          <p:nvPr/>
        </p:nvSpPr>
        <p:spPr>
          <a:xfrm>
            <a:off x="5062593" y="5838568"/>
            <a:ext cx="38904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Educação: </a:t>
            </a:r>
            <a:r>
              <a:rPr kumimoji="0" lang="pt-BR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detalhado a seguir</a:t>
            </a:r>
          </a:p>
        </p:txBody>
      </p:sp>
      <p:pic>
        <p:nvPicPr>
          <p:cNvPr id="103" name="Gráfico 102" descr="Livros com preenchimento sólido">
            <a:extLst>
              <a:ext uri="{FF2B5EF4-FFF2-40B4-BE49-F238E27FC236}">
                <a16:creationId xmlns:a16="http://schemas.microsoft.com/office/drawing/2014/main" id="{41F46E3A-DA82-46D9-BE2E-09A3CB939C4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4505646" y="5796971"/>
            <a:ext cx="391979" cy="391979"/>
          </a:xfrm>
          <a:prstGeom prst="rect">
            <a:avLst/>
          </a:prstGeom>
        </p:spPr>
      </p:pic>
      <p:pic>
        <p:nvPicPr>
          <p:cNvPr id="109" name="Gráfico 108" descr="Fluxograma circular com preenchimento sólido">
            <a:extLst>
              <a:ext uri="{FF2B5EF4-FFF2-40B4-BE49-F238E27FC236}">
                <a16:creationId xmlns:a16="http://schemas.microsoft.com/office/drawing/2014/main" id="{51EC2CC9-ADF1-469E-855F-6AA414C8640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4463000" y="1078967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201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DEE249-7B29-4AB3-A770-1AFD43EF3D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DEE249-7B29-4AB3-A770-1AFD43EF3D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626FBA-4704-4229-B7F8-54C78BDC9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pt-BR" dirty="0"/>
              <a:t>Exemplo: protocolos sanitários para funcionamento de </a:t>
            </a:r>
            <a:r>
              <a:rPr lang="pt-BR" dirty="0">
                <a:solidFill>
                  <a:schemeClr val="accent4"/>
                </a:solidFill>
              </a:rPr>
              <a:t>supermercados</a:t>
            </a:r>
            <a:r>
              <a:rPr lang="pt-BR" dirty="0"/>
              <a:t> </a:t>
            </a:r>
            <a:br>
              <a:rPr lang="pt-BR" dirty="0"/>
            </a:br>
            <a:r>
              <a:rPr lang="pt-BR" dirty="0"/>
              <a:t>em São Paulo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61" name="CaixaDeTexto 60">
            <a:extLst>
              <a:ext uri="{FF2B5EF4-FFF2-40B4-BE49-F238E27FC236}">
                <a16:creationId xmlns:a16="http://schemas.microsoft.com/office/drawing/2014/main" id="{058CCC2E-349B-44F7-AD8C-BA5F50FE8AD9}"/>
              </a:ext>
            </a:extLst>
          </p:cNvPr>
          <p:cNvSpPr txBox="1"/>
          <p:nvPr/>
        </p:nvSpPr>
        <p:spPr>
          <a:xfrm>
            <a:off x="3464760" y="906999"/>
            <a:ext cx="8454523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rigatoriedade de aferir a temperatura antes do ingresso no loc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rigatoriedade no fornecimento de álcool em g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rigatoriedade de uso de máscara durante toda a permanência no estabeleciment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anciamento de 1,5 metro entre as pessoas dentro do local, assinaladas no chão dos estabeleciment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erminar horário diferenciado para abertura e fechamento dos estabeleciment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ienizar os carrinhos e cestas de compras a cada us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lizar anúncios periódicos pedindo que clientes sigam o distanciamento social, usem máscaras e lavem suas mãos, bem como orientar que toquem apenas nos produtos que serão levados/comprad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mpre que possível, utilizar métodos de pagamentos através de aplicativo, QRCode e outros modelos sem contato físico entre funcionário e client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mentar o número de caixas preferenciais para atendimento ao público dos grupos de risc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ar o fluxo de entrada e saída dos estabelecimentos, de forma que seja respeitado o distanciamento social</a:t>
            </a:r>
          </a:p>
        </p:txBody>
      </p: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407DA80E-4881-49FD-AC78-878729C3F4F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17"/>
          <a:stretch/>
        </p:blipFill>
        <p:spPr>
          <a:xfrm>
            <a:off x="417094" y="906999"/>
            <a:ext cx="2859081" cy="3857506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413437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FDEE249-7B29-4AB3-A770-1AFD43EF3D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6" progId="TCLayout.ActiveDocument.1">
                  <p:embed/>
                </p:oleObj>
              </mc:Choice>
              <mc:Fallback>
                <p:oleObj name="Slide do think-cell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FDEE249-7B29-4AB3-A770-1AFD43EF3D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626FBA-4704-4229-B7F8-54C78BDC9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pt-BR" dirty="0"/>
              <a:t>Exemplo: </a:t>
            </a:r>
            <a:r>
              <a:rPr lang="pt-BR" dirty="0">
                <a:solidFill>
                  <a:srgbClr val="FFC000"/>
                </a:solidFill>
              </a:rPr>
              <a:t>protocolos sanitários </a:t>
            </a:r>
            <a:r>
              <a:rPr lang="pt-BR" dirty="0"/>
              <a:t>para funcionamento de </a:t>
            </a:r>
            <a:r>
              <a:rPr lang="pt-BR" dirty="0">
                <a:solidFill>
                  <a:schemeClr val="accent4"/>
                </a:solidFill>
              </a:rPr>
              <a:t>estabelecimentos religiosos </a:t>
            </a:r>
            <a:r>
              <a:rPr lang="pt-BR" dirty="0"/>
              <a:t>em São Paulo</a:t>
            </a:r>
            <a:endParaRPr lang="en-US" dirty="0">
              <a:solidFill>
                <a:srgbClr val="FFC000"/>
              </a:solidFill>
            </a:endParaRPr>
          </a:p>
        </p:txBody>
      </p:sp>
      <p:pic>
        <p:nvPicPr>
          <p:cNvPr id="60" name="Imagem 59">
            <a:extLst>
              <a:ext uri="{FF2B5EF4-FFF2-40B4-BE49-F238E27FC236}">
                <a16:creationId xmlns:a16="http://schemas.microsoft.com/office/drawing/2014/main" id="{BAEC3DC3-6202-450D-8213-5FFAEDB9BA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6962" y="1413459"/>
            <a:ext cx="2463334" cy="34781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61" name="CaixaDeTexto 60">
            <a:extLst>
              <a:ext uri="{FF2B5EF4-FFF2-40B4-BE49-F238E27FC236}">
                <a16:creationId xmlns:a16="http://schemas.microsoft.com/office/drawing/2014/main" id="{058CCC2E-349B-44F7-AD8C-BA5F50FE8AD9}"/>
              </a:ext>
            </a:extLst>
          </p:cNvPr>
          <p:cNvSpPr txBox="1"/>
          <p:nvPr/>
        </p:nvSpPr>
        <p:spPr>
          <a:xfrm>
            <a:off x="3433009" y="1033185"/>
            <a:ext cx="8325853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ível de ocupação máxima no local deve ser de 30%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rigatoriedade de tirar a temperatura antes do ingresso no loc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rigatoriedade no fornecimento de álcool em g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rigatoriedade de uso de máscara durante todo o período da cerimônia inclusive pelos celebrantes e assisten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anciamento de 1,5 metro entre as pessoas dentro do loc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das as pessoas devem estar sentad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rários devem ser espaçados para evitar aglomerações na entrada e saída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gurar a ventilação adequada do local de realização da celebração religiosa, mantendo todas as portas e janelas abertas o tempo todo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spender os coros temporariamente, devido ao potencial de contaminação desta atividad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mpre que possível, eliminar rituais envolvendo toques físicos e não compartilhando objetos</a:t>
            </a:r>
          </a:p>
        </p:txBody>
      </p:sp>
    </p:spTree>
    <p:extLst>
      <p:ext uri="{BB962C8B-B14F-4D97-AF65-F5344CB8AC3E}">
        <p14:creationId xmlns:p14="http://schemas.microsoft.com/office/powerpoint/2010/main" val="2665154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96F1B99-192B-4959-8D43-9F267E0A5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96F1B99-192B-4959-8D43-9F267E0A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Google Shape;34;p2"/>
          <p:cNvSpPr txBox="1">
            <a:spLocks noGrp="1"/>
          </p:cNvSpPr>
          <p:nvPr>
            <p:ph type="title"/>
          </p:nvPr>
        </p:nvSpPr>
        <p:spPr>
          <a:xfrm>
            <a:off x="536540" y="242903"/>
            <a:ext cx="8673448" cy="511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</a:pPr>
            <a:r>
              <a:rPr lang="pt-BR" dirty="0"/>
              <a:t>Exemplo: protocolos sanitários para funcionamento de </a:t>
            </a:r>
            <a:r>
              <a:rPr lang="pt-BR" dirty="0">
                <a:solidFill>
                  <a:schemeClr val="accent4"/>
                </a:solidFill>
              </a:rPr>
              <a:t>escolas </a:t>
            </a:r>
            <a:r>
              <a:rPr lang="pt-BR" dirty="0"/>
              <a:t>em São Paulo</a:t>
            </a:r>
            <a:endParaRPr dirty="0">
              <a:solidFill>
                <a:srgbClr val="FFC000"/>
              </a:solidFill>
            </a:endParaRPr>
          </a:p>
        </p:txBody>
      </p:sp>
      <p:sp>
        <p:nvSpPr>
          <p:cNvPr id="36" name="Google Shape;36;p2"/>
          <p:cNvSpPr txBox="1"/>
          <p:nvPr/>
        </p:nvSpPr>
        <p:spPr>
          <a:xfrm>
            <a:off x="3280600" y="888795"/>
            <a:ext cx="8673300" cy="5447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brigatoriedade de aferição de temperatura antes de ingressar na unidade escola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igienização frequente das mãos com água e sabão e/ou álcool em gel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brigatoriedade de uso de máscara durante todo o período de permanência no espaço escola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orários de entrada, saída e recreios devem ser organizados para evitar aglomeração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istanciamento de 1,5 metro entre as pessoas dentro da unidade escola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A ventilação adequada de todos os espaços escolares deve ser assegurada e portas e janelas mantidas aber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Higienização constantemente os espaços utilizados por alunos e equipes escolares</a:t>
            </a: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  <a:sym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Restrição a interações que envolvam contato físico entre as pesso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sença máxima de estudantes deve ser de até 35% das matrícul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AutoNum type="arabicPeriod"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essoas com sintomas de COVID-19 não devem comparecer às unidades escolares sob nenhuma circunstância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02DAFFCA-23F3-4DE7-B89E-DB906BAAA90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66"/>
          <a:stretch/>
        </p:blipFill>
        <p:spPr>
          <a:xfrm>
            <a:off x="372734" y="1026694"/>
            <a:ext cx="2795571" cy="3769895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C96F1B99-192B-4959-8D43-9F267E0A5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C96F1B99-192B-4959-8D43-9F267E0A5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Google Shape;34;p2"/>
          <p:cNvSpPr txBox="1">
            <a:spLocks noGrp="1"/>
          </p:cNvSpPr>
          <p:nvPr>
            <p:ph type="title"/>
          </p:nvPr>
        </p:nvSpPr>
        <p:spPr>
          <a:xfrm>
            <a:off x="536540" y="242903"/>
            <a:ext cx="8673448" cy="511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</a:pPr>
            <a:r>
              <a:rPr lang="pt-BR" dirty="0"/>
              <a:t>Todos os protocolos podem ser consultados no site do Plano SP</a:t>
            </a:r>
            <a:endParaRPr dirty="0">
              <a:solidFill>
                <a:srgbClr val="FFC000"/>
              </a:solidFill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64E9100-B223-4788-9CDC-985BADF7A1E5}"/>
              </a:ext>
            </a:extLst>
          </p:cNvPr>
          <p:cNvSpPr txBox="1"/>
          <p:nvPr/>
        </p:nvSpPr>
        <p:spPr>
          <a:xfrm>
            <a:off x="1086679" y="2969352"/>
            <a:ext cx="100186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3600" b="1" dirty="0">
                <a:solidFill>
                  <a:schemeClr val="accent4"/>
                </a:solidFill>
                <a:latin typeface="Georgia" panose="02040502050405020303" pitchFamily="18" charset="0"/>
              </a:rPr>
              <a:t>www.saopaulo.sp.gov.br/planosp</a:t>
            </a:r>
          </a:p>
        </p:txBody>
      </p:sp>
    </p:spTree>
    <p:extLst>
      <p:ext uri="{BB962C8B-B14F-4D97-AF65-F5344CB8AC3E}">
        <p14:creationId xmlns:p14="http://schemas.microsoft.com/office/powerpoint/2010/main" val="1836083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YS2ErL2zyqdRY6jHE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ftEGR_AyW7he9S3hgs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F6zAGPFry..hWj2QSo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yq1FB5WoLT1v.52MTo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YS2ErL2zyqdRY6jHE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yq1FB5WoLT1v.52MTo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YS2ErL2zyqdRY6jHE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B0F0">
            <a:alpha val="25000"/>
          </a:srgbClr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763</Words>
  <Application>Microsoft Office PowerPoint</Application>
  <PresentationFormat>Widescreen</PresentationFormat>
  <Paragraphs>102</Paragraphs>
  <Slides>7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18" baseType="lpstr">
      <vt:lpstr>Arial</vt:lpstr>
      <vt:lpstr>Calibri</vt:lpstr>
      <vt:lpstr>Calibri Light</vt:lpstr>
      <vt:lpstr>Georgia</vt:lpstr>
      <vt:lpstr>Helvetica Neue Medium</vt:lpstr>
      <vt:lpstr>Noto Sans Symbols</vt:lpstr>
      <vt:lpstr>Wingdings</vt:lpstr>
      <vt:lpstr>10_Office Theme</vt:lpstr>
      <vt:lpstr>2_Office Theme</vt:lpstr>
      <vt:lpstr>3_Office Theme</vt:lpstr>
      <vt:lpstr>Slide do think-cell</vt:lpstr>
      <vt:lpstr>Apresentação do PowerPoint</vt:lpstr>
      <vt:lpstr>Apresentação do PowerPoint</vt:lpstr>
      <vt:lpstr>Regras de funcionamento das atividades na fase vermelha e toque de restrição a partir das 20h até 5h</vt:lpstr>
      <vt:lpstr>Exemplo: protocolos sanitários para funcionamento de supermercados  em São Paulo</vt:lpstr>
      <vt:lpstr>Exemplo: protocolos sanitários para funcionamento de estabelecimentos religiosos em São Paulo</vt:lpstr>
      <vt:lpstr>Exemplo: protocolos sanitários para funcionamento de escolas em São Paulo</vt:lpstr>
      <vt:lpstr>Todos os protocolos podem ser consultados no site do Plano S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arbara Carvalho Regis</dc:creator>
  <cp:lastModifiedBy>Barbara Carvalho Regis</cp:lastModifiedBy>
  <cp:revision>2</cp:revision>
  <dcterms:created xsi:type="dcterms:W3CDTF">2021-03-03T15:34:38Z</dcterms:created>
  <dcterms:modified xsi:type="dcterms:W3CDTF">2021-03-03T15:38:46Z</dcterms:modified>
</cp:coreProperties>
</file>